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0" r:id="rId4"/>
  </p:sldMasterIdLst>
  <p:notesMasterIdLst>
    <p:notesMasterId r:id="rId24"/>
  </p:notesMasterIdLst>
  <p:handoutMasterIdLst>
    <p:handoutMasterId r:id="rId25"/>
  </p:handoutMasterIdLst>
  <p:sldIdLst>
    <p:sldId id="283" r:id="rId5"/>
    <p:sldId id="284" r:id="rId6"/>
    <p:sldId id="291" r:id="rId7"/>
    <p:sldId id="286" r:id="rId8"/>
    <p:sldId id="289" r:id="rId9"/>
    <p:sldId id="295" r:id="rId10"/>
    <p:sldId id="290" r:id="rId11"/>
    <p:sldId id="292" r:id="rId12"/>
    <p:sldId id="287" r:id="rId13"/>
    <p:sldId id="293" r:id="rId14"/>
    <p:sldId id="285" r:id="rId15"/>
    <p:sldId id="288" r:id="rId16"/>
    <p:sldId id="297" r:id="rId17"/>
    <p:sldId id="300" r:id="rId18"/>
    <p:sldId id="294" r:id="rId19"/>
    <p:sldId id="296" r:id="rId20"/>
    <p:sldId id="298" r:id="rId21"/>
    <p:sldId id="299" r:id="rId22"/>
    <p:sldId id="301"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s" id="{6BE4F8A4-33C8-48F6-9ABF-A37E5FC24EA6}">
          <p14:sldIdLst>
            <p14:sldId id="283"/>
            <p14:sldId id="284"/>
            <p14:sldId id="291"/>
            <p14:sldId id="286"/>
            <p14:sldId id="289"/>
            <p14:sldId id="295"/>
            <p14:sldId id="290"/>
            <p14:sldId id="292"/>
            <p14:sldId id="287"/>
            <p14:sldId id="293"/>
            <p14:sldId id="285"/>
            <p14:sldId id="288"/>
            <p14:sldId id="297"/>
            <p14:sldId id="300"/>
            <p14:sldId id="294"/>
            <p14:sldId id="296"/>
            <p14:sldId id="298"/>
            <p14:sldId id="299"/>
            <p14:sldId id="301"/>
          </p14:sldIdLst>
        </p14:section>
        <p14:section name="Template" id="{8B5FDD39-EAEB-40BD-83C9-EDA2CEBE9406}">
          <p14:sldIdLst/>
        </p14:section>
      </p14:sectionLst>
    </p:ext>
    <p:ext uri="{EFAFB233-063F-42B5-8137-9DF3F51BA10A}">
      <p15:sldGuideLst xmlns:p15="http://schemas.microsoft.com/office/powerpoint/2012/main">
        <p15:guide id="1" orient="horz" pos="1848" userDrawn="1">
          <p15:clr>
            <a:srgbClr val="A4A3A4"/>
          </p15:clr>
        </p15:guide>
        <p15:guide id="2" pos="7080" userDrawn="1">
          <p15:clr>
            <a:srgbClr val="A4A3A4"/>
          </p15:clr>
        </p15:guide>
        <p15:guide id="3" pos="511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4D4D"/>
    <a:srgbClr val="4AB5C4"/>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64B92F-D8D8-4DA2-A42C-C8894BC14D97}" v="28" dt="2022-12-22T15:25:05.633"/>
    <p1510:client id="{691A62D0-B4DF-4092-B847-DBF8356A7AF8}" v="728" dt="2022-12-22T09:24:28.5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3542" autoAdjust="0"/>
    <p:restoredTop sz="93792" autoAdjust="0"/>
  </p:normalViewPr>
  <p:slideViewPr>
    <p:cSldViewPr snapToGrid="0">
      <p:cViewPr varScale="1">
        <p:scale>
          <a:sx n="59" d="100"/>
          <a:sy n="59" d="100"/>
        </p:scale>
        <p:origin x="184" y="64"/>
      </p:cViewPr>
      <p:guideLst>
        <p:guide orient="horz" pos="1848"/>
        <p:guide pos="7080"/>
        <p:guide pos="5112"/>
      </p:guideLst>
    </p:cSldViewPr>
  </p:slideViewPr>
  <p:outlineViewPr>
    <p:cViewPr>
      <p:scale>
        <a:sx n="33" d="100"/>
        <a:sy n="33" d="100"/>
      </p:scale>
      <p:origin x="0" y="-4819"/>
    </p:cViewPr>
  </p:outlineViewPr>
  <p:notesTextViewPr>
    <p:cViewPr>
      <p:scale>
        <a:sx n="1" d="1"/>
        <a:sy n="1" d="1"/>
      </p:scale>
      <p:origin x="0" y="0"/>
    </p:cViewPr>
  </p:notesTextViewPr>
  <p:sorterViewPr>
    <p:cViewPr>
      <p:scale>
        <a:sx n="90" d="100"/>
        <a:sy n="90" d="100"/>
      </p:scale>
      <p:origin x="0" y="0"/>
    </p:cViewPr>
  </p:sorterViewPr>
  <p:notesViewPr>
    <p:cSldViewPr snapToGrid="0">
      <p:cViewPr varScale="1">
        <p:scale>
          <a:sx n="65" d="100"/>
          <a:sy n="65" d="100"/>
        </p:scale>
        <p:origin x="845" y="3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nric Mus Catala" userId="d65d4634-8e16-47e9-87ba-a549cc891999" providerId="ADAL" clId="{691A62D0-B4DF-4092-B847-DBF8356A7AF8}"/>
    <pc:docChg chg="undo custSel addSld delSld modSld sldOrd modSection replTag">
      <pc:chgData name="Enric Mus Catala" userId="d65d4634-8e16-47e9-87ba-a549cc891999" providerId="ADAL" clId="{691A62D0-B4DF-4092-B847-DBF8356A7AF8}" dt="2022-12-22T09:49:57.721" v="7834" actId="207"/>
      <pc:docMkLst>
        <pc:docMk/>
      </pc:docMkLst>
      <pc:sldChg chg="del">
        <pc:chgData name="Enric Mus Catala" userId="d65d4634-8e16-47e9-87ba-a549cc891999" providerId="ADAL" clId="{691A62D0-B4DF-4092-B847-DBF8356A7AF8}" dt="2022-12-21T23:11:24.241" v="7006" actId="2696"/>
        <pc:sldMkLst>
          <pc:docMk/>
          <pc:sldMk cId="2259308896" sldId="256"/>
        </pc:sldMkLst>
      </pc:sldChg>
      <pc:sldChg chg="del">
        <pc:chgData name="Enric Mus Catala" userId="d65d4634-8e16-47e9-87ba-a549cc891999" providerId="ADAL" clId="{691A62D0-B4DF-4092-B847-DBF8356A7AF8}" dt="2022-12-21T23:11:24.241" v="7006" actId="2696"/>
        <pc:sldMkLst>
          <pc:docMk/>
          <pc:sldMk cId="3446797337" sldId="259"/>
        </pc:sldMkLst>
      </pc:sldChg>
      <pc:sldChg chg="del">
        <pc:chgData name="Enric Mus Catala" userId="d65d4634-8e16-47e9-87ba-a549cc891999" providerId="ADAL" clId="{691A62D0-B4DF-4092-B847-DBF8356A7AF8}" dt="2022-12-21T23:11:24.241" v="7006" actId="2696"/>
        <pc:sldMkLst>
          <pc:docMk/>
          <pc:sldMk cId="4212917468" sldId="260"/>
        </pc:sldMkLst>
      </pc:sldChg>
      <pc:sldChg chg="del">
        <pc:chgData name="Enric Mus Catala" userId="d65d4634-8e16-47e9-87ba-a549cc891999" providerId="ADAL" clId="{691A62D0-B4DF-4092-B847-DBF8356A7AF8}" dt="2022-12-21T23:11:24.241" v="7006" actId="2696"/>
        <pc:sldMkLst>
          <pc:docMk/>
          <pc:sldMk cId="1527386939" sldId="261"/>
        </pc:sldMkLst>
      </pc:sldChg>
      <pc:sldChg chg="del">
        <pc:chgData name="Enric Mus Catala" userId="d65d4634-8e16-47e9-87ba-a549cc891999" providerId="ADAL" clId="{691A62D0-B4DF-4092-B847-DBF8356A7AF8}" dt="2022-12-21T23:11:24.241" v="7006" actId="2696"/>
        <pc:sldMkLst>
          <pc:docMk/>
          <pc:sldMk cId="3477453048" sldId="263"/>
        </pc:sldMkLst>
      </pc:sldChg>
      <pc:sldChg chg="del">
        <pc:chgData name="Enric Mus Catala" userId="d65d4634-8e16-47e9-87ba-a549cc891999" providerId="ADAL" clId="{691A62D0-B4DF-4092-B847-DBF8356A7AF8}" dt="2022-12-21T23:11:24.241" v="7006" actId="2696"/>
        <pc:sldMkLst>
          <pc:docMk/>
          <pc:sldMk cId="2563119616" sldId="265"/>
        </pc:sldMkLst>
      </pc:sldChg>
      <pc:sldChg chg="del">
        <pc:chgData name="Enric Mus Catala" userId="d65d4634-8e16-47e9-87ba-a549cc891999" providerId="ADAL" clId="{691A62D0-B4DF-4092-B847-DBF8356A7AF8}" dt="2022-12-21T23:11:24.241" v="7006" actId="2696"/>
        <pc:sldMkLst>
          <pc:docMk/>
          <pc:sldMk cId="2721508595" sldId="266"/>
        </pc:sldMkLst>
      </pc:sldChg>
      <pc:sldChg chg="del">
        <pc:chgData name="Enric Mus Catala" userId="d65d4634-8e16-47e9-87ba-a549cc891999" providerId="ADAL" clId="{691A62D0-B4DF-4092-B847-DBF8356A7AF8}" dt="2022-12-21T23:11:24.241" v="7006" actId="2696"/>
        <pc:sldMkLst>
          <pc:docMk/>
          <pc:sldMk cId="1836265594" sldId="270"/>
        </pc:sldMkLst>
      </pc:sldChg>
      <pc:sldChg chg="del">
        <pc:chgData name="Enric Mus Catala" userId="d65d4634-8e16-47e9-87ba-a549cc891999" providerId="ADAL" clId="{691A62D0-B4DF-4092-B847-DBF8356A7AF8}" dt="2022-12-21T23:11:24.241" v="7006" actId="2696"/>
        <pc:sldMkLst>
          <pc:docMk/>
          <pc:sldMk cId="4167936497" sldId="276"/>
        </pc:sldMkLst>
      </pc:sldChg>
      <pc:sldChg chg="del">
        <pc:chgData name="Enric Mus Catala" userId="d65d4634-8e16-47e9-87ba-a549cc891999" providerId="ADAL" clId="{691A62D0-B4DF-4092-B847-DBF8356A7AF8}" dt="2022-12-21T23:11:24.241" v="7006" actId="2696"/>
        <pc:sldMkLst>
          <pc:docMk/>
          <pc:sldMk cId="2452352329" sldId="277"/>
        </pc:sldMkLst>
      </pc:sldChg>
      <pc:sldChg chg="del">
        <pc:chgData name="Enric Mus Catala" userId="d65d4634-8e16-47e9-87ba-a549cc891999" providerId="ADAL" clId="{691A62D0-B4DF-4092-B847-DBF8356A7AF8}" dt="2022-12-21T23:11:24.241" v="7006" actId="2696"/>
        <pc:sldMkLst>
          <pc:docMk/>
          <pc:sldMk cId="2593787646" sldId="279"/>
        </pc:sldMkLst>
      </pc:sldChg>
      <pc:sldChg chg="del">
        <pc:chgData name="Enric Mus Catala" userId="d65d4634-8e16-47e9-87ba-a549cc891999" providerId="ADAL" clId="{691A62D0-B4DF-4092-B847-DBF8356A7AF8}" dt="2022-12-21T23:11:24.241" v="7006" actId="2696"/>
        <pc:sldMkLst>
          <pc:docMk/>
          <pc:sldMk cId="192617391" sldId="280"/>
        </pc:sldMkLst>
      </pc:sldChg>
      <pc:sldChg chg="del">
        <pc:chgData name="Enric Mus Catala" userId="d65d4634-8e16-47e9-87ba-a549cc891999" providerId="ADAL" clId="{691A62D0-B4DF-4092-B847-DBF8356A7AF8}" dt="2022-12-21T23:11:24.241" v="7006" actId="2696"/>
        <pc:sldMkLst>
          <pc:docMk/>
          <pc:sldMk cId="2672174031" sldId="281"/>
        </pc:sldMkLst>
      </pc:sldChg>
      <pc:sldChg chg="addSp delSp modSp mod">
        <pc:chgData name="Enric Mus Catala" userId="d65d4634-8e16-47e9-87ba-a549cc891999" providerId="ADAL" clId="{691A62D0-B4DF-4092-B847-DBF8356A7AF8}" dt="2022-12-21T23:09:33.818" v="6970"/>
        <pc:sldMkLst>
          <pc:docMk/>
          <pc:sldMk cId="88385781" sldId="283"/>
        </pc:sldMkLst>
        <pc:spChg chg="mod">
          <ac:chgData name="Enric Mus Catala" userId="d65d4634-8e16-47e9-87ba-a549cc891999" providerId="ADAL" clId="{691A62D0-B4DF-4092-B847-DBF8356A7AF8}" dt="2022-12-21T23:09:33.782" v="6928" actId="948"/>
          <ac:spMkLst>
            <pc:docMk/>
            <pc:sldMk cId="88385781" sldId="283"/>
            <ac:spMk id="2" creationId="{8460295B-54B9-4937-90E3-BAB9CE69E30B}"/>
          </ac:spMkLst>
        </pc:spChg>
        <pc:spChg chg="add del mod modVis">
          <ac:chgData name="Enric Mus Catala" userId="d65d4634-8e16-47e9-87ba-a549cc891999" providerId="ADAL" clId="{691A62D0-B4DF-4092-B847-DBF8356A7AF8}" dt="2022-12-21T23:09:03.271" v="6402"/>
          <ac:spMkLst>
            <pc:docMk/>
            <pc:sldMk cId="88385781" sldId="283"/>
            <ac:spMk id="3" creationId="{42629728-F27E-4A5B-8A3B-F35A6E319DB1}"/>
          </ac:spMkLst>
        </pc:spChg>
        <pc:spChg chg="mod">
          <ac:chgData name="Enric Mus Catala" userId="d65d4634-8e16-47e9-87ba-a549cc891999" providerId="ADAL" clId="{691A62D0-B4DF-4092-B847-DBF8356A7AF8}" dt="2022-12-21T22:22:01.532" v="6315" actId="20577"/>
          <ac:spMkLst>
            <pc:docMk/>
            <pc:sldMk cId="88385781" sldId="283"/>
            <ac:spMk id="4" creationId="{D51A6D85-3837-435F-A342-5A3F98172B12}"/>
          </ac:spMkLst>
        </pc:spChg>
        <pc:spChg chg="add del mod modVis">
          <ac:chgData name="Enric Mus Catala" userId="d65d4634-8e16-47e9-87ba-a549cc891999" providerId="ADAL" clId="{691A62D0-B4DF-4092-B847-DBF8356A7AF8}" dt="2022-12-21T23:09:04.823" v="6451"/>
          <ac:spMkLst>
            <pc:docMk/>
            <pc:sldMk cId="88385781" sldId="283"/>
            <ac:spMk id="6" creationId="{DCA14039-A8FE-4918-804A-FED4F4452DE2}"/>
          </ac:spMkLst>
        </pc:spChg>
        <pc:spChg chg="add del mod modVis">
          <ac:chgData name="Enric Mus Catala" userId="d65d4634-8e16-47e9-87ba-a549cc891999" providerId="ADAL" clId="{691A62D0-B4DF-4092-B847-DBF8356A7AF8}" dt="2022-12-21T23:09:05.777" v="6498"/>
          <ac:spMkLst>
            <pc:docMk/>
            <pc:sldMk cId="88385781" sldId="283"/>
            <ac:spMk id="7" creationId="{9BF87F16-1CEA-4B6F-9D0A-A2932FD7045D}"/>
          </ac:spMkLst>
        </pc:spChg>
        <pc:spChg chg="add del mod modVis">
          <ac:chgData name="Enric Mus Catala" userId="d65d4634-8e16-47e9-87ba-a549cc891999" providerId="ADAL" clId="{691A62D0-B4DF-4092-B847-DBF8356A7AF8}" dt="2022-12-21T23:09:05.877" v="6542"/>
          <ac:spMkLst>
            <pc:docMk/>
            <pc:sldMk cId="88385781" sldId="283"/>
            <ac:spMk id="8" creationId="{88DB1AE4-CA22-4FD6-B2AC-288B42501A74}"/>
          </ac:spMkLst>
        </pc:spChg>
        <pc:spChg chg="add del mod modVis">
          <ac:chgData name="Enric Mus Catala" userId="d65d4634-8e16-47e9-87ba-a549cc891999" providerId="ADAL" clId="{691A62D0-B4DF-4092-B847-DBF8356A7AF8}" dt="2022-12-21T23:09:09.130" v="6598"/>
          <ac:spMkLst>
            <pc:docMk/>
            <pc:sldMk cId="88385781" sldId="283"/>
            <ac:spMk id="11" creationId="{13D0E1B7-F147-4E89-A40E-D3F1CCA0B0C0}"/>
          </ac:spMkLst>
        </pc:spChg>
        <pc:spChg chg="add del mod modVis">
          <ac:chgData name="Enric Mus Catala" userId="d65d4634-8e16-47e9-87ba-a549cc891999" providerId="ADAL" clId="{691A62D0-B4DF-4092-B847-DBF8356A7AF8}" dt="2022-12-21T23:09:15.027" v="6688"/>
          <ac:spMkLst>
            <pc:docMk/>
            <pc:sldMk cId="88385781" sldId="283"/>
            <ac:spMk id="12" creationId="{067A7544-573A-4549-82C8-6DFAE3C17F0F}"/>
          </ac:spMkLst>
        </pc:spChg>
        <pc:spChg chg="add del mod modVis">
          <ac:chgData name="Enric Mus Catala" userId="d65d4634-8e16-47e9-87ba-a549cc891999" providerId="ADAL" clId="{691A62D0-B4DF-4092-B847-DBF8356A7AF8}" dt="2022-12-21T23:09:15.316" v="6733"/>
          <ac:spMkLst>
            <pc:docMk/>
            <pc:sldMk cId="88385781" sldId="283"/>
            <ac:spMk id="13" creationId="{4884D04E-B538-4E0B-9FDA-24828167B4F7}"/>
          </ac:spMkLst>
        </pc:spChg>
        <pc:spChg chg="add del mod modVis">
          <ac:chgData name="Enric Mus Catala" userId="d65d4634-8e16-47e9-87ba-a549cc891999" providerId="ADAL" clId="{691A62D0-B4DF-4092-B847-DBF8356A7AF8}" dt="2022-12-21T23:09:18.251" v="6789"/>
          <ac:spMkLst>
            <pc:docMk/>
            <pc:sldMk cId="88385781" sldId="283"/>
            <ac:spMk id="14" creationId="{740A4DB9-C2BC-4581-9230-9F02BD56F009}"/>
          </ac:spMkLst>
        </pc:spChg>
        <pc:spChg chg="add del mod modVis">
          <ac:chgData name="Enric Mus Catala" userId="d65d4634-8e16-47e9-87ba-a549cc891999" providerId="ADAL" clId="{691A62D0-B4DF-4092-B847-DBF8356A7AF8}" dt="2022-12-21T23:09:19.363" v="6836"/>
          <ac:spMkLst>
            <pc:docMk/>
            <pc:sldMk cId="88385781" sldId="283"/>
            <ac:spMk id="15" creationId="{1F256D9A-03AF-4CEA-A5E3-B43060A668B5}"/>
          </ac:spMkLst>
        </pc:spChg>
        <pc:spChg chg="add del mod modVis">
          <ac:chgData name="Enric Mus Catala" userId="d65d4634-8e16-47e9-87ba-a549cc891999" providerId="ADAL" clId="{691A62D0-B4DF-4092-B847-DBF8356A7AF8}" dt="2022-12-21T23:09:23.366" v="6880"/>
          <ac:spMkLst>
            <pc:docMk/>
            <pc:sldMk cId="88385781" sldId="283"/>
            <ac:spMk id="16" creationId="{B7F15485-1F4D-40D0-8907-A7156B363E2D}"/>
          </ac:spMkLst>
        </pc:spChg>
        <pc:spChg chg="add del mod modVis">
          <ac:chgData name="Enric Mus Catala" userId="d65d4634-8e16-47e9-87ba-a549cc891999" providerId="ADAL" clId="{691A62D0-B4DF-4092-B847-DBF8356A7AF8}" dt="2022-12-21T23:09:31.153" v="6924"/>
          <ac:spMkLst>
            <pc:docMk/>
            <pc:sldMk cId="88385781" sldId="283"/>
            <ac:spMk id="17" creationId="{12BDBAD6-87CB-4954-971C-5449849D2F3C}"/>
          </ac:spMkLst>
        </pc:spChg>
        <pc:spChg chg="add del mod modVis">
          <ac:chgData name="Enric Mus Catala" userId="d65d4634-8e16-47e9-87ba-a549cc891999" providerId="ADAL" clId="{691A62D0-B4DF-4092-B847-DBF8356A7AF8}" dt="2022-12-21T23:09:33.818" v="6968"/>
          <ac:spMkLst>
            <pc:docMk/>
            <pc:sldMk cId="88385781" sldId="283"/>
            <ac:spMk id="18" creationId="{CEDE7234-46D2-4A7B-9BB5-88DD387AB713}"/>
          </ac:spMkLst>
        </pc:spChg>
        <pc:graphicFrameChg chg="mod">
          <ac:chgData name="Enric Mus Catala" userId="d65d4634-8e16-47e9-87ba-a549cc891999" providerId="ADAL" clId="{691A62D0-B4DF-4092-B847-DBF8356A7AF8}" dt="2022-12-21T23:09:33.818" v="6970"/>
          <ac:graphicFrameMkLst>
            <pc:docMk/>
            <pc:sldMk cId="88385781" sldId="283"/>
            <ac:graphicFrameMk id="5" creationId="{051E33D7-5EE7-4E43-95B4-F82EFB01A789}"/>
          </ac:graphicFrameMkLst>
        </pc:graphicFrameChg>
      </pc:sldChg>
      <pc:sldChg chg="modSp mod">
        <pc:chgData name="Enric Mus Catala" userId="d65d4634-8e16-47e9-87ba-a549cc891999" providerId="ADAL" clId="{691A62D0-B4DF-4092-B847-DBF8356A7AF8}" dt="2022-12-21T23:10:41.938" v="7003" actId="20577"/>
        <pc:sldMkLst>
          <pc:docMk/>
          <pc:sldMk cId="2113751104" sldId="284"/>
        </pc:sldMkLst>
        <pc:spChg chg="mod">
          <ac:chgData name="Enric Mus Catala" userId="d65d4634-8e16-47e9-87ba-a549cc891999" providerId="ADAL" clId="{691A62D0-B4DF-4092-B847-DBF8356A7AF8}" dt="2022-12-21T23:10:41.938" v="7003" actId="20577"/>
          <ac:spMkLst>
            <pc:docMk/>
            <pc:sldMk cId="2113751104" sldId="284"/>
            <ac:spMk id="29" creationId="{72142BC0-18E5-42CE-A02F-AC348DDCE465}"/>
          </ac:spMkLst>
        </pc:spChg>
        <pc:picChg chg="mod">
          <ac:chgData name="Enric Mus Catala" userId="d65d4634-8e16-47e9-87ba-a549cc891999" providerId="ADAL" clId="{691A62D0-B4DF-4092-B847-DBF8356A7AF8}" dt="2022-12-21T17:33:29.187" v="2958" actId="14100"/>
          <ac:picMkLst>
            <pc:docMk/>
            <pc:sldMk cId="2113751104" sldId="284"/>
            <ac:picMk id="9" creationId="{3B98A433-B9AA-404D-A956-C5AF0DC244D8}"/>
          </ac:picMkLst>
        </pc:picChg>
      </pc:sldChg>
      <pc:sldChg chg="addSp delSp modSp mod ord">
        <pc:chgData name="Enric Mus Catala" userId="d65d4634-8e16-47e9-87ba-a549cc891999" providerId="ADAL" clId="{691A62D0-B4DF-4092-B847-DBF8356A7AF8}" dt="2022-12-21T23:27:24.415" v="7756" actId="20577"/>
        <pc:sldMkLst>
          <pc:docMk/>
          <pc:sldMk cId="1539555253" sldId="285"/>
        </pc:sldMkLst>
        <pc:spChg chg="mod">
          <ac:chgData name="Enric Mus Catala" userId="d65d4634-8e16-47e9-87ba-a549cc891999" providerId="ADAL" clId="{691A62D0-B4DF-4092-B847-DBF8356A7AF8}" dt="2022-12-21T23:27:24.415" v="7756" actId="20577"/>
          <ac:spMkLst>
            <pc:docMk/>
            <pc:sldMk cId="1539555253" sldId="285"/>
            <ac:spMk id="4" creationId="{D51A6D85-3837-435F-A342-5A3F98172B12}"/>
          </ac:spMkLst>
        </pc:spChg>
        <pc:graphicFrameChg chg="mod">
          <ac:chgData name="Enric Mus Catala" userId="d65d4634-8e16-47e9-87ba-a549cc891999" providerId="ADAL" clId="{691A62D0-B4DF-4092-B847-DBF8356A7AF8}" dt="2022-12-21T18:09:18.573" v="2964"/>
          <ac:graphicFrameMkLst>
            <pc:docMk/>
            <pc:sldMk cId="1539555253" sldId="285"/>
            <ac:graphicFrameMk id="5" creationId="{051E33D7-5EE7-4E43-95B4-F82EFB01A789}"/>
          </ac:graphicFrameMkLst>
        </pc:graphicFrameChg>
        <pc:picChg chg="add mod modCrop">
          <ac:chgData name="Enric Mus Catala" userId="d65d4634-8e16-47e9-87ba-a549cc891999" providerId="ADAL" clId="{691A62D0-B4DF-4092-B847-DBF8356A7AF8}" dt="2022-12-21T17:08:04.769" v="2222" actId="14100"/>
          <ac:picMkLst>
            <pc:docMk/>
            <pc:sldMk cId="1539555253" sldId="285"/>
            <ac:picMk id="3" creationId="{3150ADF4-BF12-42C9-A378-F03025EF4B94}"/>
          </ac:picMkLst>
        </pc:picChg>
        <pc:picChg chg="del">
          <ac:chgData name="Enric Mus Catala" userId="d65d4634-8e16-47e9-87ba-a549cc891999" providerId="ADAL" clId="{691A62D0-B4DF-4092-B847-DBF8356A7AF8}" dt="2022-12-21T17:07:57.174" v="2219" actId="478"/>
          <ac:picMkLst>
            <pc:docMk/>
            <pc:sldMk cId="1539555253" sldId="285"/>
            <ac:picMk id="9" creationId="{B3047CD5-45E2-4A61-B875-0F27AA5FF626}"/>
          </ac:picMkLst>
        </pc:picChg>
      </pc:sldChg>
      <pc:sldChg chg="modSp mod">
        <pc:chgData name="Enric Mus Catala" userId="d65d4634-8e16-47e9-87ba-a549cc891999" providerId="ADAL" clId="{691A62D0-B4DF-4092-B847-DBF8356A7AF8}" dt="2022-12-22T09:22:28.499" v="7818" actId="552"/>
        <pc:sldMkLst>
          <pc:docMk/>
          <pc:sldMk cId="1944375919" sldId="286"/>
        </pc:sldMkLst>
        <pc:spChg chg="mod">
          <ac:chgData name="Enric Mus Catala" userId="d65d4634-8e16-47e9-87ba-a549cc891999" providerId="ADAL" clId="{691A62D0-B4DF-4092-B847-DBF8356A7AF8}" dt="2022-12-22T09:22:28.499" v="7818" actId="552"/>
          <ac:spMkLst>
            <pc:docMk/>
            <pc:sldMk cId="1944375919" sldId="286"/>
            <ac:spMk id="2" creationId="{B8D6B1B9-77FC-433D-9851-1201CFDA3270}"/>
          </ac:spMkLst>
        </pc:spChg>
        <pc:graphicFrameChg chg="mod">
          <ac:chgData name="Enric Mus Catala" userId="d65d4634-8e16-47e9-87ba-a549cc891999" providerId="ADAL" clId="{691A62D0-B4DF-4092-B847-DBF8356A7AF8}" dt="2022-12-21T17:26:07.848" v="2510"/>
          <ac:graphicFrameMkLst>
            <pc:docMk/>
            <pc:sldMk cId="1944375919" sldId="286"/>
            <ac:graphicFrameMk id="12" creationId="{F658D089-3C8A-4DB5-B385-1D8F29891C43}"/>
          </ac:graphicFrameMkLst>
        </pc:graphicFrameChg>
        <pc:picChg chg="mod">
          <ac:chgData name="Enric Mus Catala" userId="d65d4634-8e16-47e9-87ba-a549cc891999" providerId="ADAL" clId="{691A62D0-B4DF-4092-B847-DBF8356A7AF8}" dt="2022-12-22T09:22:28.499" v="7818" actId="552"/>
          <ac:picMkLst>
            <pc:docMk/>
            <pc:sldMk cId="1944375919" sldId="286"/>
            <ac:picMk id="15" creationId="{8215E2CF-C03D-41E5-A6A5-882358836D9C}"/>
          </ac:picMkLst>
        </pc:picChg>
        <pc:picChg chg="mod">
          <ac:chgData name="Enric Mus Catala" userId="d65d4634-8e16-47e9-87ba-a549cc891999" providerId="ADAL" clId="{691A62D0-B4DF-4092-B847-DBF8356A7AF8}" dt="2022-12-22T09:22:28.499" v="7818" actId="552"/>
          <ac:picMkLst>
            <pc:docMk/>
            <pc:sldMk cId="1944375919" sldId="286"/>
            <ac:picMk id="17" creationId="{FF67EB1B-648F-4728-A00A-02A45783CC5C}"/>
          </ac:picMkLst>
        </pc:picChg>
        <pc:picChg chg="mod">
          <ac:chgData name="Enric Mus Catala" userId="d65d4634-8e16-47e9-87ba-a549cc891999" providerId="ADAL" clId="{691A62D0-B4DF-4092-B847-DBF8356A7AF8}" dt="2022-12-22T09:22:28.499" v="7818" actId="552"/>
          <ac:picMkLst>
            <pc:docMk/>
            <pc:sldMk cId="1944375919" sldId="286"/>
            <ac:picMk id="19" creationId="{1ADE9E3A-14BF-44D6-9FCC-CE0336CCCC9F}"/>
          </ac:picMkLst>
        </pc:picChg>
      </pc:sldChg>
      <pc:sldChg chg="addSp delSp modSp mod">
        <pc:chgData name="Enric Mus Catala" userId="d65d4634-8e16-47e9-87ba-a549cc891999" providerId="ADAL" clId="{691A62D0-B4DF-4092-B847-DBF8356A7AF8}" dt="2022-12-21T18:43:47.912" v="4098"/>
        <pc:sldMkLst>
          <pc:docMk/>
          <pc:sldMk cId="806574220" sldId="287"/>
        </pc:sldMkLst>
        <pc:spChg chg="mod ord">
          <ac:chgData name="Enric Mus Catala" userId="d65d4634-8e16-47e9-87ba-a549cc891999" providerId="ADAL" clId="{691A62D0-B4DF-4092-B847-DBF8356A7AF8}" dt="2022-12-21T17:32:59.810" v="2900" actId="948"/>
          <ac:spMkLst>
            <pc:docMk/>
            <pc:sldMk cId="806574220" sldId="287"/>
            <ac:spMk id="2" creationId="{B8D6B1B9-77FC-433D-9851-1201CFDA3270}"/>
          </ac:spMkLst>
        </pc:spChg>
        <pc:spChg chg="add del mod modVis">
          <ac:chgData name="Enric Mus Catala" userId="d65d4634-8e16-47e9-87ba-a549cc891999" providerId="ADAL" clId="{691A62D0-B4DF-4092-B847-DBF8356A7AF8}" dt="2022-12-21T15:12:38.098" v="59"/>
          <ac:spMkLst>
            <pc:docMk/>
            <pc:sldMk cId="806574220" sldId="287"/>
            <ac:spMk id="3" creationId="{A94AF841-7104-498A-BFA5-56D44110A304}"/>
          </ac:spMkLst>
        </pc:spChg>
        <pc:spChg chg="add del mod modVis">
          <ac:chgData name="Enric Mus Catala" userId="d65d4634-8e16-47e9-87ba-a549cc891999" providerId="ADAL" clId="{691A62D0-B4DF-4092-B847-DBF8356A7AF8}" dt="2022-12-21T15:12:39.375" v="118"/>
          <ac:spMkLst>
            <pc:docMk/>
            <pc:sldMk cId="806574220" sldId="287"/>
            <ac:spMk id="4" creationId="{33354E8F-09B2-413E-BB12-4B3437F56122}"/>
          </ac:spMkLst>
        </pc:spChg>
        <pc:spChg chg="add del mod modVis">
          <ac:chgData name="Enric Mus Catala" userId="d65d4634-8e16-47e9-87ba-a549cc891999" providerId="ADAL" clId="{691A62D0-B4DF-4092-B847-DBF8356A7AF8}" dt="2022-12-21T15:12:40.224" v="177"/>
          <ac:spMkLst>
            <pc:docMk/>
            <pc:sldMk cId="806574220" sldId="287"/>
            <ac:spMk id="5" creationId="{7BC1B854-A393-41C4-909C-84F4F80E4047}"/>
          </ac:spMkLst>
        </pc:spChg>
        <pc:spChg chg="add del mod modVis">
          <ac:chgData name="Enric Mus Catala" userId="d65d4634-8e16-47e9-87ba-a549cc891999" providerId="ADAL" clId="{691A62D0-B4DF-4092-B847-DBF8356A7AF8}" dt="2022-12-21T15:12:41.490" v="236"/>
          <ac:spMkLst>
            <pc:docMk/>
            <pc:sldMk cId="806574220" sldId="287"/>
            <ac:spMk id="6" creationId="{840654C4-1B18-4570-87D3-7EDF2C3222F6}"/>
          </ac:spMkLst>
        </pc:spChg>
        <pc:spChg chg="add del mod modVis">
          <ac:chgData name="Enric Mus Catala" userId="d65d4634-8e16-47e9-87ba-a549cc891999" providerId="ADAL" clId="{691A62D0-B4DF-4092-B847-DBF8356A7AF8}" dt="2022-12-21T15:13:03.150" v="467"/>
          <ac:spMkLst>
            <pc:docMk/>
            <pc:sldMk cId="806574220" sldId="287"/>
            <ac:spMk id="7" creationId="{39FE277F-D284-42C7-BEDE-83EAAEBBFBE8}"/>
          </ac:spMkLst>
        </pc:spChg>
        <pc:spChg chg="add del mod modVis">
          <ac:chgData name="Enric Mus Catala" userId="d65d4634-8e16-47e9-87ba-a549cc891999" providerId="ADAL" clId="{691A62D0-B4DF-4092-B847-DBF8356A7AF8}" dt="2022-12-21T16:37:38.080" v="910"/>
          <ac:spMkLst>
            <pc:docMk/>
            <pc:sldMk cId="806574220" sldId="287"/>
            <ac:spMk id="8" creationId="{8E3C7E88-21C1-4188-A91D-F0A43A0C9EA0}"/>
          </ac:spMkLst>
        </pc:spChg>
        <pc:spChg chg="add del mod modVis">
          <ac:chgData name="Enric Mus Catala" userId="d65d4634-8e16-47e9-87ba-a549cc891999" providerId="ADAL" clId="{691A62D0-B4DF-4092-B847-DBF8356A7AF8}" dt="2022-12-21T16:37:39.739" v="958"/>
          <ac:spMkLst>
            <pc:docMk/>
            <pc:sldMk cId="806574220" sldId="287"/>
            <ac:spMk id="9" creationId="{A2662506-789F-46C4-8EC9-8ABF0FB35964}"/>
          </ac:spMkLst>
        </pc:spChg>
        <pc:spChg chg="mod ord">
          <ac:chgData name="Enric Mus Catala" userId="d65d4634-8e16-47e9-87ba-a549cc891999" providerId="ADAL" clId="{691A62D0-B4DF-4092-B847-DBF8356A7AF8}" dt="2022-12-21T17:29:11.013" v="2616"/>
          <ac:spMkLst>
            <pc:docMk/>
            <pc:sldMk cId="806574220" sldId="287"/>
            <ac:spMk id="10" creationId="{523F2142-23CD-4ACA-BB2C-A54FDCFDCA25}"/>
          </ac:spMkLst>
        </pc:spChg>
        <pc:spChg chg="mod ord">
          <ac:chgData name="Enric Mus Catala" userId="d65d4634-8e16-47e9-87ba-a549cc891999" providerId="ADAL" clId="{691A62D0-B4DF-4092-B847-DBF8356A7AF8}" dt="2022-12-21T17:29:11.014" v="2618"/>
          <ac:spMkLst>
            <pc:docMk/>
            <pc:sldMk cId="806574220" sldId="287"/>
            <ac:spMk id="11" creationId="{1AEC9149-F5C3-45FA-B09D-CF6B7D2456CD}"/>
          </ac:spMkLst>
        </pc:spChg>
        <pc:spChg chg="add del mod">
          <ac:chgData name="Enric Mus Catala" userId="d65d4634-8e16-47e9-87ba-a549cc891999" providerId="ADAL" clId="{691A62D0-B4DF-4092-B847-DBF8356A7AF8}" dt="2022-12-21T16:35:23.509" v="708" actId="478"/>
          <ac:spMkLst>
            <pc:docMk/>
            <pc:sldMk cId="806574220" sldId="287"/>
            <ac:spMk id="16" creationId="{C7B9A1F3-8D7F-4215-93E1-EFB113736293}"/>
          </ac:spMkLst>
        </pc:spChg>
        <pc:spChg chg="add del mod ord">
          <ac:chgData name="Enric Mus Catala" userId="d65d4634-8e16-47e9-87ba-a549cc891999" providerId="ADAL" clId="{691A62D0-B4DF-4092-B847-DBF8356A7AF8}" dt="2022-12-21T16:57:05.594" v="1601" actId="478"/>
          <ac:spMkLst>
            <pc:docMk/>
            <pc:sldMk cId="806574220" sldId="287"/>
            <ac:spMk id="17" creationId="{B2E850FA-008A-4A18-95A7-6E44B2F69A6B}"/>
          </ac:spMkLst>
        </pc:spChg>
        <pc:spChg chg="add del mod ord">
          <ac:chgData name="Enric Mus Catala" userId="d65d4634-8e16-47e9-87ba-a549cc891999" providerId="ADAL" clId="{691A62D0-B4DF-4092-B847-DBF8356A7AF8}" dt="2022-12-21T16:57:05.594" v="1601" actId="478"/>
          <ac:spMkLst>
            <pc:docMk/>
            <pc:sldMk cId="806574220" sldId="287"/>
            <ac:spMk id="18" creationId="{97B7515E-317A-4689-A8B1-9505FE4A1326}"/>
          </ac:spMkLst>
        </pc:spChg>
        <pc:spChg chg="add del mod ord">
          <ac:chgData name="Enric Mus Catala" userId="d65d4634-8e16-47e9-87ba-a549cc891999" providerId="ADAL" clId="{691A62D0-B4DF-4092-B847-DBF8356A7AF8}" dt="2022-12-21T16:57:05.594" v="1601" actId="478"/>
          <ac:spMkLst>
            <pc:docMk/>
            <pc:sldMk cId="806574220" sldId="287"/>
            <ac:spMk id="19" creationId="{0E0CE450-3727-44EB-B1D1-49D65F0B0400}"/>
          </ac:spMkLst>
        </pc:spChg>
        <pc:spChg chg="add mod ord topLvl">
          <ac:chgData name="Enric Mus Catala" userId="d65d4634-8e16-47e9-87ba-a549cc891999" providerId="ADAL" clId="{691A62D0-B4DF-4092-B847-DBF8356A7AF8}" dt="2022-12-21T16:57:19.925" v="1605" actId="164"/>
          <ac:spMkLst>
            <pc:docMk/>
            <pc:sldMk cId="806574220" sldId="287"/>
            <ac:spMk id="20" creationId="{A4561FB8-2949-41B1-A98E-3AB20205F928}"/>
          </ac:spMkLst>
        </pc:spChg>
        <pc:spChg chg="add del mod modVis">
          <ac:chgData name="Enric Mus Catala" userId="d65d4634-8e16-47e9-87ba-a549cc891999" providerId="ADAL" clId="{691A62D0-B4DF-4092-B847-DBF8356A7AF8}" dt="2022-12-21T17:03:59.416" v="1724"/>
          <ac:spMkLst>
            <pc:docMk/>
            <pc:sldMk cId="806574220" sldId="287"/>
            <ac:spMk id="26" creationId="{EB6982B1-EEE0-493F-9657-EED1ED8EF852}"/>
          </ac:spMkLst>
        </pc:spChg>
        <pc:spChg chg="add del mod modVis">
          <ac:chgData name="Enric Mus Catala" userId="d65d4634-8e16-47e9-87ba-a549cc891999" providerId="ADAL" clId="{691A62D0-B4DF-4092-B847-DBF8356A7AF8}" dt="2022-12-21T17:04:03.386" v="1774"/>
          <ac:spMkLst>
            <pc:docMk/>
            <pc:sldMk cId="806574220" sldId="287"/>
            <ac:spMk id="27" creationId="{450B34C9-3141-48D5-8201-455F15DDE3C3}"/>
          </ac:spMkLst>
        </pc:spChg>
        <pc:spChg chg="add mod ord">
          <ac:chgData name="Enric Mus Catala" userId="d65d4634-8e16-47e9-87ba-a549cc891999" providerId="ADAL" clId="{691A62D0-B4DF-4092-B847-DBF8356A7AF8}" dt="2022-12-21T16:59:03.531" v="1653" actId="164"/>
          <ac:spMkLst>
            <pc:docMk/>
            <pc:sldMk cId="806574220" sldId="287"/>
            <ac:spMk id="28" creationId="{A550B9D0-6874-4BC0-9F0A-20AF87DC6286}"/>
          </ac:spMkLst>
        </pc:spChg>
        <pc:spChg chg="add del mod modVis">
          <ac:chgData name="Enric Mus Catala" userId="d65d4634-8e16-47e9-87ba-a549cc891999" providerId="ADAL" clId="{691A62D0-B4DF-4092-B847-DBF8356A7AF8}" dt="2022-12-21T17:04:04.456" v="1818"/>
          <ac:spMkLst>
            <pc:docMk/>
            <pc:sldMk cId="806574220" sldId="287"/>
            <ac:spMk id="29" creationId="{22DA9978-C3FE-4D17-B3E0-A5DE6546CA22}"/>
          </ac:spMkLst>
        </pc:spChg>
        <pc:spChg chg="add del mod modVis">
          <ac:chgData name="Enric Mus Catala" userId="d65d4634-8e16-47e9-87ba-a549cc891999" providerId="ADAL" clId="{691A62D0-B4DF-4092-B847-DBF8356A7AF8}" dt="2022-12-21T17:04:16.708" v="1871"/>
          <ac:spMkLst>
            <pc:docMk/>
            <pc:sldMk cId="806574220" sldId="287"/>
            <ac:spMk id="30" creationId="{3042884A-8C7F-4000-B390-C293DE198C94}"/>
          </ac:spMkLst>
        </pc:spChg>
        <pc:spChg chg="mod ord">
          <ac:chgData name="Enric Mus Catala" userId="d65d4634-8e16-47e9-87ba-a549cc891999" providerId="ADAL" clId="{691A62D0-B4DF-4092-B847-DBF8356A7AF8}" dt="2022-12-21T18:40:09.765" v="3980" actId="552"/>
          <ac:spMkLst>
            <pc:docMk/>
            <pc:sldMk cId="806574220" sldId="287"/>
            <ac:spMk id="31" creationId="{C6D1CCEC-534A-4991-A816-2E51476A7F99}"/>
          </ac:spMkLst>
        </pc:spChg>
        <pc:spChg chg="add del mod modVis">
          <ac:chgData name="Enric Mus Catala" userId="d65d4634-8e16-47e9-87ba-a549cc891999" providerId="ADAL" clId="{691A62D0-B4DF-4092-B847-DBF8356A7AF8}" dt="2022-12-21T17:04:19.036" v="1916"/>
          <ac:spMkLst>
            <pc:docMk/>
            <pc:sldMk cId="806574220" sldId="287"/>
            <ac:spMk id="32" creationId="{792C6311-F87E-4AE0-BDCC-0086E6317395}"/>
          </ac:spMkLst>
        </pc:spChg>
        <pc:spChg chg="mod ord">
          <ac:chgData name="Enric Mus Catala" userId="d65d4634-8e16-47e9-87ba-a549cc891999" providerId="ADAL" clId="{691A62D0-B4DF-4092-B847-DBF8356A7AF8}" dt="2022-12-21T18:40:09.765" v="3980" actId="552"/>
          <ac:spMkLst>
            <pc:docMk/>
            <pc:sldMk cId="806574220" sldId="287"/>
            <ac:spMk id="34" creationId="{25F1FB64-AF7F-42EB-8AA9-58E989376F01}"/>
          </ac:spMkLst>
        </pc:spChg>
        <pc:spChg chg="add del mod modVis">
          <ac:chgData name="Enric Mus Catala" userId="d65d4634-8e16-47e9-87ba-a549cc891999" providerId="ADAL" clId="{691A62D0-B4DF-4092-B847-DBF8356A7AF8}" dt="2022-12-21T17:04:26.801" v="1963"/>
          <ac:spMkLst>
            <pc:docMk/>
            <pc:sldMk cId="806574220" sldId="287"/>
            <ac:spMk id="35" creationId="{B49EF682-FF83-480E-9521-58A175A2C99C}"/>
          </ac:spMkLst>
        </pc:spChg>
        <pc:spChg chg="add del mod modVis">
          <ac:chgData name="Enric Mus Catala" userId="d65d4634-8e16-47e9-87ba-a549cc891999" providerId="ADAL" clId="{691A62D0-B4DF-4092-B847-DBF8356A7AF8}" dt="2022-12-21T17:04:27.426" v="2007"/>
          <ac:spMkLst>
            <pc:docMk/>
            <pc:sldMk cId="806574220" sldId="287"/>
            <ac:spMk id="37" creationId="{DDCF650A-254F-4971-A30F-D078D719AFF4}"/>
          </ac:spMkLst>
        </pc:spChg>
        <pc:spChg chg="add del mod modVis">
          <ac:chgData name="Enric Mus Catala" userId="d65d4634-8e16-47e9-87ba-a549cc891999" providerId="ADAL" clId="{691A62D0-B4DF-4092-B847-DBF8356A7AF8}" dt="2022-12-21T17:04:27.696" v="2051"/>
          <ac:spMkLst>
            <pc:docMk/>
            <pc:sldMk cId="806574220" sldId="287"/>
            <ac:spMk id="38" creationId="{AD18EBC0-2F8D-443F-91FA-704DD1F1D7C0}"/>
          </ac:spMkLst>
        </pc:spChg>
        <pc:spChg chg="add del mod modVis">
          <ac:chgData name="Enric Mus Catala" userId="d65d4634-8e16-47e9-87ba-a549cc891999" providerId="ADAL" clId="{691A62D0-B4DF-4092-B847-DBF8356A7AF8}" dt="2022-12-21T17:04:28.459" v="2095"/>
          <ac:spMkLst>
            <pc:docMk/>
            <pc:sldMk cId="806574220" sldId="287"/>
            <ac:spMk id="39" creationId="{A3430A93-4302-4C05-A8FA-71353B90DB2B}"/>
          </ac:spMkLst>
        </pc:spChg>
        <pc:spChg chg="add del mod modVis">
          <ac:chgData name="Enric Mus Catala" userId="d65d4634-8e16-47e9-87ba-a549cc891999" providerId="ADAL" clId="{691A62D0-B4DF-4092-B847-DBF8356A7AF8}" dt="2022-12-21T17:26:43.594" v="2601"/>
          <ac:spMkLst>
            <pc:docMk/>
            <pc:sldMk cId="806574220" sldId="287"/>
            <ac:spMk id="40" creationId="{0CA1F53F-2A06-45C9-9A20-AD1C88849374}"/>
          </ac:spMkLst>
        </pc:spChg>
        <pc:spChg chg="add mod ord">
          <ac:chgData name="Enric Mus Catala" userId="d65d4634-8e16-47e9-87ba-a549cc891999" providerId="ADAL" clId="{691A62D0-B4DF-4092-B847-DBF8356A7AF8}" dt="2022-12-21T18:38:46.336" v="3962" actId="1036"/>
          <ac:spMkLst>
            <pc:docMk/>
            <pc:sldMk cId="806574220" sldId="287"/>
            <ac:spMk id="41" creationId="{2231F4F5-1B85-40A6-A46D-E76F90DC4049}"/>
          </ac:spMkLst>
        </pc:spChg>
        <pc:spChg chg="add del mod modVis">
          <ac:chgData name="Enric Mus Catala" userId="d65d4634-8e16-47e9-87ba-a549cc891999" providerId="ADAL" clId="{691A62D0-B4DF-4092-B847-DBF8356A7AF8}" dt="2022-12-21T17:32:59.094" v="2896"/>
          <ac:spMkLst>
            <pc:docMk/>
            <pc:sldMk cId="806574220" sldId="287"/>
            <ac:spMk id="42" creationId="{FF7FBE17-3B6B-4400-978E-6998804677E2}"/>
          </ac:spMkLst>
        </pc:spChg>
        <pc:spChg chg="add del mod modVis">
          <ac:chgData name="Enric Mus Catala" userId="d65d4634-8e16-47e9-87ba-a549cc891999" providerId="ADAL" clId="{691A62D0-B4DF-4092-B847-DBF8356A7AF8}" dt="2022-12-21T17:32:59.845" v="2940"/>
          <ac:spMkLst>
            <pc:docMk/>
            <pc:sldMk cId="806574220" sldId="287"/>
            <ac:spMk id="43" creationId="{17394E6E-25BB-4348-96AF-48A46719D408}"/>
          </ac:spMkLst>
        </pc:spChg>
        <pc:spChg chg="add mod">
          <ac:chgData name="Enric Mus Catala" userId="d65d4634-8e16-47e9-87ba-a549cc891999" providerId="ADAL" clId="{691A62D0-B4DF-4092-B847-DBF8356A7AF8}" dt="2022-12-21T18:40:09.765" v="3980" actId="552"/>
          <ac:spMkLst>
            <pc:docMk/>
            <pc:sldMk cId="806574220" sldId="287"/>
            <ac:spMk id="44" creationId="{B3C117E6-91F2-4096-9FA7-977E08D4E8D4}"/>
          </ac:spMkLst>
        </pc:spChg>
        <pc:grpChg chg="add del mod">
          <ac:chgData name="Enric Mus Catala" userId="d65d4634-8e16-47e9-87ba-a549cc891999" providerId="ADAL" clId="{691A62D0-B4DF-4092-B847-DBF8356A7AF8}" dt="2022-12-21T16:57:11.805" v="1602" actId="165"/>
          <ac:grpSpMkLst>
            <pc:docMk/>
            <pc:sldMk cId="806574220" sldId="287"/>
            <ac:grpSpMk id="21" creationId="{FAFD183B-0828-41E7-B979-4B334DA9DD32}"/>
          </ac:grpSpMkLst>
        </pc:grpChg>
        <pc:grpChg chg="add mod ord">
          <ac:chgData name="Enric Mus Catala" userId="d65d4634-8e16-47e9-87ba-a549cc891999" providerId="ADAL" clId="{691A62D0-B4DF-4092-B847-DBF8356A7AF8}" dt="2022-12-21T18:39:55.260" v="3963" actId="554"/>
          <ac:grpSpMkLst>
            <pc:docMk/>
            <pc:sldMk cId="806574220" sldId="287"/>
            <ac:grpSpMk id="24" creationId="{8AAF7F47-4D1C-4A3F-BCA8-161FAA3151B8}"/>
          </ac:grpSpMkLst>
        </pc:grpChg>
        <pc:grpChg chg="add mod ord">
          <ac:chgData name="Enric Mus Catala" userId="d65d4634-8e16-47e9-87ba-a549cc891999" providerId="ADAL" clId="{691A62D0-B4DF-4092-B847-DBF8356A7AF8}" dt="2022-12-21T17:29:11.015" v="2626"/>
          <ac:grpSpMkLst>
            <pc:docMk/>
            <pc:sldMk cId="806574220" sldId="287"/>
            <ac:grpSpMk id="25" creationId="{5A3D1780-7664-4E79-B163-F3985E10C722}"/>
          </ac:grpSpMkLst>
        </pc:grpChg>
        <pc:graphicFrameChg chg="mod">
          <ac:chgData name="Enric Mus Catala" userId="d65d4634-8e16-47e9-87ba-a549cc891999" providerId="ADAL" clId="{691A62D0-B4DF-4092-B847-DBF8356A7AF8}" dt="2022-12-21T17:32:59.847" v="2942"/>
          <ac:graphicFrameMkLst>
            <pc:docMk/>
            <pc:sldMk cId="806574220" sldId="287"/>
            <ac:graphicFrameMk id="12" creationId="{F658D089-3C8A-4DB5-B385-1D8F29891C43}"/>
          </ac:graphicFrameMkLst>
        </pc:graphicFrameChg>
        <pc:picChg chg="del mod ord">
          <ac:chgData name="Enric Mus Catala" userId="d65d4634-8e16-47e9-87ba-a549cc891999" providerId="ADAL" clId="{691A62D0-B4DF-4092-B847-DBF8356A7AF8}" dt="2022-12-21T17:04:20.674" v="1919" actId="478"/>
          <ac:picMkLst>
            <pc:docMk/>
            <pc:sldMk cId="806574220" sldId="287"/>
            <ac:picMk id="14" creationId="{4D132E28-CF18-4CF9-9FC0-AC8885D68F7A}"/>
          </ac:picMkLst>
        </pc:picChg>
        <pc:picChg chg="add mod ord topLvl">
          <ac:chgData name="Enric Mus Catala" userId="d65d4634-8e16-47e9-87ba-a549cc891999" providerId="ADAL" clId="{691A62D0-B4DF-4092-B847-DBF8356A7AF8}" dt="2022-12-21T16:57:19.925" v="1605" actId="164"/>
          <ac:picMkLst>
            <pc:docMk/>
            <pc:sldMk cId="806574220" sldId="287"/>
            <ac:picMk id="15" creationId="{909F8737-18F4-4F86-AC4D-FBE94870B684}"/>
          </ac:picMkLst>
        </pc:picChg>
        <pc:picChg chg="add mod ord">
          <ac:chgData name="Enric Mus Catala" userId="d65d4634-8e16-47e9-87ba-a549cc891999" providerId="ADAL" clId="{691A62D0-B4DF-4092-B847-DBF8356A7AF8}" dt="2022-12-21T16:59:03.531" v="1653" actId="164"/>
          <ac:picMkLst>
            <pc:docMk/>
            <pc:sldMk cId="806574220" sldId="287"/>
            <ac:picMk id="23" creationId="{0E8F50A6-2348-4C76-8644-C99F09271599}"/>
          </ac:picMkLst>
        </pc:picChg>
        <pc:picChg chg="del">
          <ac:chgData name="Enric Mus Catala" userId="d65d4634-8e16-47e9-87ba-a549cc891999" providerId="ADAL" clId="{691A62D0-B4DF-4092-B847-DBF8356A7AF8}" dt="2022-12-21T16:34:01.795" v="605" actId="478"/>
          <ac:picMkLst>
            <pc:docMk/>
            <pc:sldMk cId="806574220" sldId="287"/>
            <ac:picMk id="33" creationId="{4F8EDA75-EDE2-4924-94F7-9B105432E123}"/>
          </ac:picMkLst>
        </pc:picChg>
        <pc:picChg chg="del">
          <ac:chgData name="Enric Mus Catala" userId="d65d4634-8e16-47e9-87ba-a549cc891999" providerId="ADAL" clId="{691A62D0-B4DF-4092-B847-DBF8356A7AF8}" dt="2022-12-21T16:34:02.380" v="606" actId="478"/>
          <ac:picMkLst>
            <pc:docMk/>
            <pc:sldMk cId="806574220" sldId="287"/>
            <ac:picMk id="36" creationId="{E75FE6D1-FE72-463E-8D29-D39D2C3855E4}"/>
          </ac:picMkLst>
        </pc:picChg>
        <pc:picChg chg="add mod">
          <ac:chgData name="Enric Mus Catala" userId="d65d4634-8e16-47e9-87ba-a549cc891999" providerId="ADAL" clId="{691A62D0-B4DF-4092-B847-DBF8356A7AF8}" dt="2022-12-21T18:43:47.912" v="4098"/>
          <ac:picMkLst>
            <pc:docMk/>
            <pc:sldMk cId="806574220" sldId="287"/>
            <ac:picMk id="45" creationId="{C6F6271E-9B51-4A50-A960-454EA203FEDE}"/>
          </ac:picMkLst>
        </pc:picChg>
      </pc:sldChg>
      <pc:sldChg chg="addSp delSp modSp add mod ord modNotesTx">
        <pc:chgData name="Enric Mus Catala" userId="d65d4634-8e16-47e9-87ba-a549cc891999" providerId="ADAL" clId="{691A62D0-B4DF-4092-B847-DBF8356A7AF8}" dt="2022-12-21T23:26:51.383" v="7735"/>
        <pc:sldMkLst>
          <pc:docMk/>
          <pc:sldMk cId="1454637151" sldId="288"/>
        </pc:sldMkLst>
        <pc:spChg chg="mod">
          <ac:chgData name="Enric Mus Catala" userId="d65d4634-8e16-47e9-87ba-a549cc891999" providerId="ADAL" clId="{691A62D0-B4DF-4092-B847-DBF8356A7AF8}" dt="2022-12-21T23:26:51.355" v="7693" actId="948"/>
          <ac:spMkLst>
            <pc:docMk/>
            <pc:sldMk cId="1454637151" sldId="288"/>
            <ac:spMk id="2" creationId="{B8D6B1B9-77FC-433D-9851-1201CFDA3270}"/>
          </ac:spMkLst>
        </pc:spChg>
        <pc:spChg chg="add del mod modVis">
          <ac:chgData name="Enric Mus Catala" userId="d65d4634-8e16-47e9-87ba-a549cc891999" providerId="ADAL" clId="{691A62D0-B4DF-4092-B847-DBF8356A7AF8}" dt="2022-12-21T23:26:48.764" v="7688"/>
          <ac:spMkLst>
            <pc:docMk/>
            <pc:sldMk cId="1454637151" sldId="288"/>
            <ac:spMk id="3" creationId="{5E62362D-3D8D-4BD2-93E2-CB73A37A85AE}"/>
          </ac:spMkLst>
        </pc:spChg>
        <pc:spChg chg="add del mod modVis">
          <ac:chgData name="Enric Mus Catala" userId="d65d4634-8e16-47e9-87ba-a549cc891999" providerId="ADAL" clId="{691A62D0-B4DF-4092-B847-DBF8356A7AF8}" dt="2022-12-21T15:12:54.380" v="285"/>
          <ac:spMkLst>
            <pc:docMk/>
            <pc:sldMk cId="1454637151" sldId="288"/>
            <ac:spMk id="3" creationId="{BB991F08-629F-4D50-BFC6-26596B85F666}"/>
          </ac:spMkLst>
        </pc:spChg>
        <pc:spChg chg="add del mod modVis">
          <ac:chgData name="Enric Mus Catala" userId="d65d4634-8e16-47e9-87ba-a549cc891999" providerId="ADAL" clId="{691A62D0-B4DF-4092-B847-DBF8356A7AF8}" dt="2022-12-21T15:12:57.941" v="347"/>
          <ac:spMkLst>
            <pc:docMk/>
            <pc:sldMk cId="1454637151" sldId="288"/>
            <ac:spMk id="4" creationId="{126964B8-E31A-493A-9B2A-B68B97B78071}"/>
          </ac:spMkLst>
        </pc:spChg>
        <pc:spChg chg="add del mod modVis">
          <ac:chgData name="Enric Mus Catala" userId="d65d4634-8e16-47e9-87ba-a549cc891999" providerId="ADAL" clId="{691A62D0-B4DF-4092-B847-DBF8356A7AF8}" dt="2022-12-21T23:26:51.380" v="7733"/>
          <ac:spMkLst>
            <pc:docMk/>
            <pc:sldMk cId="1454637151" sldId="288"/>
            <ac:spMk id="4" creationId="{9FD71B3B-006F-4C5A-87DE-E2B165752107}"/>
          </ac:spMkLst>
        </pc:spChg>
        <pc:spChg chg="add del mod modVis">
          <ac:chgData name="Enric Mus Catala" userId="d65d4634-8e16-47e9-87ba-a549cc891999" providerId="ADAL" clId="{691A62D0-B4DF-4092-B847-DBF8356A7AF8}" dt="2022-12-21T15:12:59.125" v="407"/>
          <ac:spMkLst>
            <pc:docMk/>
            <pc:sldMk cId="1454637151" sldId="288"/>
            <ac:spMk id="5" creationId="{8C9537F4-C24E-411A-8FFF-A862D0B40EA5}"/>
          </ac:spMkLst>
        </pc:spChg>
        <pc:spChg chg="add del mod modVis">
          <ac:chgData name="Enric Mus Catala" userId="d65d4634-8e16-47e9-87ba-a549cc891999" providerId="ADAL" clId="{691A62D0-B4DF-4092-B847-DBF8356A7AF8}" dt="2022-12-21T16:37:55.635" v="1027"/>
          <ac:spMkLst>
            <pc:docMk/>
            <pc:sldMk cId="1454637151" sldId="288"/>
            <ac:spMk id="8" creationId="{85E79348-8058-48A2-8559-FA3225CD8DC5}"/>
          </ac:spMkLst>
        </pc:spChg>
        <pc:spChg chg="add del mod modVis">
          <ac:chgData name="Enric Mus Catala" userId="d65d4634-8e16-47e9-87ba-a549cc891999" providerId="ADAL" clId="{691A62D0-B4DF-4092-B847-DBF8356A7AF8}" dt="2022-12-21T16:37:57.080" v="1076"/>
          <ac:spMkLst>
            <pc:docMk/>
            <pc:sldMk cId="1454637151" sldId="288"/>
            <ac:spMk id="9" creationId="{26A86D8C-3176-4D82-9706-039277F1D050}"/>
          </ac:spMkLst>
        </pc:spChg>
        <pc:spChg chg="del">
          <ac:chgData name="Enric Mus Catala" userId="d65d4634-8e16-47e9-87ba-a549cc891999" providerId="ADAL" clId="{691A62D0-B4DF-4092-B847-DBF8356A7AF8}" dt="2022-12-21T21:00:27.879" v="5913" actId="478"/>
          <ac:spMkLst>
            <pc:docMk/>
            <pc:sldMk cId="1454637151" sldId="288"/>
            <ac:spMk id="10" creationId="{523F2142-23CD-4ACA-BB2C-A54FDCFDCA25}"/>
          </ac:spMkLst>
        </pc:spChg>
        <pc:spChg chg="add del mod modVis">
          <ac:chgData name="Enric Mus Catala" userId="d65d4634-8e16-47e9-87ba-a549cc891999" providerId="ADAL" clId="{691A62D0-B4DF-4092-B847-DBF8356A7AF8}" dt="2022-12-21T16:37:58.905" v="1129"/>
          <ac:spMkLst>
            <pc:docMk/>
            <pc:sldMk cId="1454637151" sldId="288"/>
            <ac:spMk id="13" creationId="{074B8A90-4F8B-4035-B1BF-328E2339FC22}"/>
          </ac:spMkLst>
        </pc:spChg>
        <pc:spChg chg="add del mod modVis">
          <ac:chgData name="Enric Mus Catala" userId="d65d4634-8e16-47e9-87ba-a549cc891999" providerId="ADAL" clId="{691A62D0-B4DF-4092-B847-DBF8356A7AF8}" dt="2022-12-21T16:38:03.234" v="1173"/>
          <ac:spMkLst>
            <pc:docMk/>
            <pc:sldMk cId="1454637151" sldId="288"/>
            <ac:spMk id="15" creationId="{DE89D578-6EEA-4832-A192-A3B1B91857A3}"/>
          </ac:spMkLst>
        </pc:spChg>
        <pc:spChg chg="add del mod modVis">
          <ac:chgData name="Enric Mus Catala" userId="d65d4634-8e16-47e9-87ba-a549cc891999" providerId="ADAL" clId="{691A62D0-B4DF-4092-B847-DBF8356A7AF8}" dt="2022-12-21T16:38:04.860" v="1218"/>
          <ac:spMkLst>
            <pc:docMk/>
            <pc:sldMk cId="1454637151" sldId="288"/>
            <ac:spMk id="16" creationId="{66D5996E-7C62-4287-A032-6F62AA9A5CDF}"/>
          </ac:spMkLst>
        </pc:spChg>
        <pc:spChg chg="add del mod modVis">
          <ac:chgData name="Enric Mus Catala" userId="d65d4634-8e16-47e9-87ba-a549cc891999" providerId="ADAL" clId="{691A62D0-B4DF-4092-B847-DBF8356A7AF8}" dt="2022-12-21T16:38:05.983" v="1262"/>
          <ac:spMkLst>
            <pc:docMk/>
            <pc:sldMk cId="1454637151" sldId="288"/>
            <ac:spMk id="17" creationId="{92FBEE6D-BB2F-4EEB-B801-A7667AA91C10}"/>
          </ac:spMkLst>
        </pc:spChg>
        <pc:spChg chg="add del mod modVis">
          <ac:chgData name="Enric Mus Catala" userId="d65d4634-8e16-47e9-87ba-a549cc891999" providerId="ADAL" clId="{691A62D0-B4DF-4092-B847-DBF8356A7AF8}" dt="2022-12-21T17:32:51.425" v="2763"/>
          <ac:spMkLst>
            <pc:docMk/>
            <pc:sldMk cId="1454637151" sldId="288"/>
            <ac:spMk id="18" creationId="{378689B3-6A6F-4ABE-B100-D650ED989207}"/>
          </ac:spMkLst>
        </pc:spChg>
        <pc:spChg chg="add del mod modVis">
          <ac:chgData name="Enric Mus Catala" userId="d65d4634-8e16-47e9-87ba-a549cc891999" providerId="ADAL" clId="{691A62D0-B4DF-4092-B847-DBF8356A7AF8}" dt="2022-12-21T17:32:52.194" v="2807"/>
          <ac:spMkLst>
            <pc:docMk/>
            <pc:sldMk cId="1454637151" sldId="288"/>
            <ac:spMk id="19" creationId="{DFE877E6-D483-4F92-9226-8E14033B7E16}"/>
          </ac:spMkLst>
        </pc:spChg>
        <pc:spChg chg="add del mod modVis">
          <ac:chgData name="Enric Mus Catala" userId="d65d4634-8e16-47e9-87ba-a549cc891999" providerId="ADAL" clId="{691A62D0-B4DF-4092-B847-DBF8356A7AF8}" dt="2022-12-21T17:32:54.327" v="2852"/>
          <ac:spMkLst>
            <pc:docMk/>
            <pc:sldMk cId="1454637151" sldId="288"/>
            <ac:spMk id="20" creationId="{06EA61A2-FE96-4193-AD04-686A74B2DA53}"/>
          </ac:spMkLst>
        </pc:spChg>
        <pc:spChg chg="add del mod modVis">
          <ac:chgData name="Enric Mus Catala" userId="d65d4634-8e16-47e9-87ba-a549cc891999" providerId="ADAL" clId="{691A62D0-B4DF-4092-B847-DBF8356A7AF8}" dt="2022-12-21T20:58:40.305" v="5578"/>
          <ac:spMkLst>
            <pc:docMk/>
            <pc:sldMk cId="1454637151" sldId="288"/>
            <ac:spMk id="21" creationId="{BFB19971-2F33-47F6-B4ED-2C3342C3A768}"/>
          </ac:spMkLst>
        </pc:spChg>
        <pc:spChg chg="add del mod">
          <ac:chgData name="Enric Mus Catala" userId="d65d4634-8e16-47e9-87ba-a549cc891999" providerId="ADAL" clId="{691A62D0-B4DF-4092-B847-DBF8356A7AF8}" dt="2022-12-21T20:59:45.287" v="5719" actId="478"/>
          <ac:spMkLst>
            <pc:docMk/>
            <pc:sldMk cId="1454637151" sldId="288"/>
            <ac:spMk id="22" creationId="{25733926-C08F-4329-8236-AA6C7F353DDE}"/>
          </ac:spMkLst>
        </pc:spChg>
        <pc:spChg chg="add del mod">
          <ac:chgData name="Enric Mus Catala" userId="d65d4634-8e16-47e9-87ba-a549cc891999" providerId="ADAL" clId="{691A62D0-B4DF-4092-B847-DBF8356A7AF8}" dt="2022-12-21T20:59:45.287" v="5719" actId="478"/>
          <ac:spMkLst>
            <pc:docMk/>
            <pc:sldMk cId="1454637151" sldId="288"/>
            <ac:spMk id="23" creationId="{2B563D35-A0DB-4C9C-AE04-65112859A1D8}"/>
          </ac:spMkLst>
        </pc:spChg>
        <pc:spChg chg="add del mod">
          <ac:chgData name="Enric Mus Catala" userId="d65d4634-8e16-47e9-87ba-a549cc891999" providerId="ADAL" clId="{691A62D0-B4DF-4092-B847-DBF8356A7AF8}" dt="2022-12-21T20:59:45.287" v="5719" actId="478"/>
          <ac:spMkLst>
            <pc:docMk/>
            <pc:sldMk cId="1454637151" sldId="288"/>
            <ac:spMk id="24" creationId="{CBA68211-F144-44AA-971D-CD460F931BFD}"/>
          </ac:spMkLst>
        </pc:spChg>
        <pc:spChg chg="add del mod modVis">
          <ac:chgData name="Enric Mus Catala" userId="d65d4634-8e16-47e9-87ba-a549cc891999" providerId="ADAL" clId="{691A62D0-B4DF-4092-B847-DBF8356A7AF8}" dt="2022-12-21T20:58:41.814" v="5627"/>
          <ac:spMkLst>
            <pc:docMk/>
            <pc:sldMk cId="1454637151" sldId="288"/>
            <ac:spMk id="25" creationId="{694EFD58-BEBB-47C2-967A-F0627BF44128}"/>
          </ac:spMkLst>
        </pc:spChg>
        <pc:spChg chg="add del mod modVis">
          <ac:chgData name="Enric Mus Catala" userId="d65d4634-8e16-47e9-87ba-a549cc891999" providerId="ADAL" clId="{691A62D0-B4DF-4092-B847-DBF8356A7AF8}" dt="2022-12-21T20:59:52.033" v="5768"/>
          <ac:spMkLst>
            <pc:docMk/>
            <pc:sldMk cId="1454637151" sldId="288"/>
            <ac:spMk id="26" creationId="{2E0385CB-E7B7-41E7-B73F-269FAE388B68}"/>
          </ac:spMkLst>
        </pc:spChg>
        <pc:spChg chg="add del mod modVis">
          <ac:chgData name="Enric Mus Catala" userId="d65d4634-8e16-47e9-87ba-a549cc891999" providerId="ADAL" clId="{691A62D0-B4DF-4092-B847-DBF8356A7AF8}" dt="2022-12-21T20:59:53.535" v="5814"/>
          <ac:spMkLst>
            <pc:docMk/>
            <pc:sldMk cId="1454637151" sldId="288"/>
            <ac:spMk id="27" creationId="{48338269-EE68-49A1-847F-2DD1781CD345}"/>
          </ac:spMkLst>
        </pc:spChg>
        <pc:spChg chg="add del mod modVis">
          <ac:chgData name="Enric Mus Catala" userId="d65d4634-8e16-47e9-87ba-a549cc891999" providerId="ADAL" clId="{691A62D0-B4DF-4092-B847-DBF8356A7AF8}" dt="2022-12-21T20:59:54.754" v="5864"/>
          <ac:spMkLst>
            <pc:docMk/>
            <pc:sldMk cId="1454637151" sldId="288"/>
            <ac:spMk id="28" creationId="{46DE70B0-58B6-4A8D-8AF7-E9263D6F43B3}"/>
          </ac:spMkLst>
        </pc:spChg>
        <pc:spChg chg="add del mod modVis">
          <ac:chgData name="Enric Mus Catala" userId="d65d4634-8e16-47e9-87ba-a549cc891999" providerId="ADAL" clId="{691A62D0-B4DF-4092-B847-DBF8356A7AF8}" dt="2022-12-21T20:59:56.328" v="5910"/>
          <ac:spMkLst>
            <pc:docMk/>
            <pc:sldMk cId="1454637151" sldId="288"/>
            <ac:spMk id="29" creationId="{E42F2448-1E05-4C53-AD0F-7039342D9C69}"/>
          </ac:spMkLst>
        </pc:spChg>
        <pc:spChg chg="del mod">
          <ac:chgData name="Enric Mus Catala" userId="d65d4634-8e16-47e9-87ba-a549cc891999" providerId="ADAL" clId="{691A62D0-B4DF-4092-B847-DBF8356A7AF8}" dt="2022-12-21T16:38:12.025" v="1265" actId="478"/>
          <ac:spMkLst>
            <pc:docMk/>
            <pc:sldMk cId="1454637151" sldId="288"/>
            <ac:spMk id="31" creationId="{C6D1CCEC-534A-4991-A816-2E51476A7F99}"/>
          </ac:spMkLst>
        </pc:spChg>
        <pc:spChg chg="del">
          <ac:chgData name="Enric Mus Catala" userId="d65d4634-8e16-47e9-87ba-a549cc891999" providerId="ADAL" clId="{691A62D0-B4DF-4092-B847-DBF8356A7AF8}" dt="2022-12-21T16:38:13.282" v="1266" actId="478"/>
          <ac:spMkLst>
            <pc:docMk/>
            <pc:sldMk cId="1454637151" sldId="288"/>
            <ac:spMk id="34" creationId="{25F1FB64-AF7F-42EB-8AA9-58E989376F01}"/>
          </ac:spMkLst>
        </pc:spChg>
        <pc:graphicFrameChg chg="mod">
          <ac:chgData name="Enric Mus Catala" userId="d65d4634-8e16-47e9-87ba-a549cc891999" providerId="ADAL" clId="{691A62D0-B4DF-4092-B847-DBF8356A7AF8}" dt="2022-12-21T23:26:51.383" v="7735"/>
          <ac:graphicFrameMkLst>
            <pc:docMk/>
            <pc:sldMk cId="1454637151" sldId="288"/>
            <ac:graphicFrameMk id="12" creationId="{F658D089-3C8A-4DB5-B385-1D8F29891C43}"/>
          </ac:graphicFrameMkLst>
        </pc:graphicFrameChg>
        <pc:picChg chg="add del mod ord">
          <ac:chgData name="Enric Mus Catala" userId="d65d4634-8e16-47e9-87ba-a549cc891999" providerId="ADAL" clId="{691A62D0-B4DF-4092-B847-DBF8356A7AF8}" dt="2022-12-21T16:34:03.797" v="607" actId="478"/>
          <ac:picMkLst>
            <pc:docMk/>
            <pc:sldMk cId="1454637151" sldId="288"/>
            <ac:picMk id="7" creationId="{3B9F3CFB-5FB3-440E-B4F8-11903D65EEBD}"/>
          </ac:picMkLst>
        </pc:picChg>
        <pc:picChg chg="del mod ord">
          <ac:chgData name="Enric Mus Catala" userId="d65d4634-8e16-47e9-87ba-a549cc891999" providerId="ADAL" clId="{691A62D0-B4DF-4092-B847-DBF8356A7AF8}" dt="2022-12-21T20:59:40.059" v="5718" actId="478"/>
          <ac:picMkLst>
            <pc:docMk/>
            <pc:sldMk cId="1454637151" sldId="288"/>
            <ac:picMk id="14" creationId="{4D132E28-CF18-4CF9-9FC0-AC8885D68F7A}"/>
          </ac:picMkLst>
        </pc:picChg>
        <pc:picChg chg="add mod ord">
          <ac:chgData name="Enric Mus Catala" userId="d65d4634-8e16-47e9-87ba-a549cc891999" providerId="ADAL" clId="{691A62D0-B4DF-4092-B847-DBF8356A7AF8}" dt="2022-12-21T20:59:38.576" v="5713"/>
          <ac:picMkLst>
            <pc:docMk/>
            <pc:sldMk cId="1454637151" sldId="288"/>
            <ac:picMk id="30" creationId="{26F64177-3B3E-40F7-B577-7980815FABDB}"/>
          </ac:picMkLst>
        </pc:picChg>
        <pc:picChg chg="del mod ord">
          <ac:chgData name="Enric Mus Catala" userId="d65d4634-8e16-47e9-87ba-a549cc891999" providerId="ADAL" clId="{691A62D0-B4DF-4092-B847-DBF8356A7AF8}" dt="2022-12-21T16:16:23.746" v="579" actId="478"/>
          <ac:picMkLst>
            <pc:docMk/>
            <pc:sldMk cId="1454637151" sldId="288"/>
            <ac:picMk id="33" creationId="{4F8EDA75-EDE2-4924-94F7-9B105432E123}"/>
          </ac:picMkLst>
        </pc:picChg>
        <pc:picChg chg="add del mod">
          <ac:chgData name="Enric Mus Catala" userId="d65d4634-8e16-47e9-87ba-a549cc891999" providerId="ADAL" clId="{691A62D0-B4DF-4092-B847-DBF8356A7AF8}" dt="2022-12-21T21:03:31.246" v="5920" actId="478"/>
          <ac:picMkLst>
            <pc:docMk/>
            <pc:sldMk cId="1454637151" sldId="288"/>
            <ac:picMk id="35" creationId="{B8CBC3FE-04BB-4F16-844D-B3B91CAA70B1}"/>
          </ac:picMkLst>
        </pc:picChg>
        <pc:picChg chg="del">
          <ac:chgData name="Enric Mus Catala" userId="d65d4634-8e16-47e9-87ba-a549cc891999" providerId="ADAL" clId="{691A62D0-B4DF-4092-B847-DBF8356A7AF8}" dt="2022-12-21T16:34:04.336" v="608" actId="478"/>
          <ac:picMkLst>
            <pc:docMk/>
            <pc:sldMk cId="1454637151" sldId="288"/>
            <ac:picMk id="36" creationId="{E75FE6D1-FE72-463E-8D29-D39D2C3855E4}"/>
          </ac:picMkLst>
        </pc:picChg>
        <pc:picChg chg="add mod">
          <ac:chgData name="Enric Mus Catala" userId="d65d4634-8e16-47e9-87ba-a549cc891999" providerId="ADAL" clId="{691A62D0-B4DF-4092-B847-DBF8356A7AF8}" dt="2022-12-21T21:04:38.663" v="5934" actId="554"/>
          <ac:picMkLst>
            <pc:docMk/>
            <pc:sldMk cId="1454637151" sldId="288"/>
            <ac:picMk id="38" creationId="{F546FEBE-9E7D-457F-88F5-DB09C8FA2416}"/>
          </ac:picMkLst>
        </pc:picChg>
        <pc:picChg chg="add mod">
          <ac:chgData name="Enric Mus Catala" userId="d65d4634-8e16-47e9-87ba-a549cc891999" providerId="ADAL" clId="{691A62D0-B4DF-4092-B847-DBF8356A7AF8}" dt="2022-12-21T21:04:38.663" v="5934" actId="554"/>
          <ac:picMkLst>
            <pc:docMk/>
            <pc:sldMk cId="1454637151" sldId="288"/>
            <ac:picMk id="40" creationId="{01BD85B2-4927-4C59-B4F6-A465CCB92AA9}"/>
          </ac:picMkLst>
        </pc:picChg>
      </pc:sldChg>
      <pc:sldChg chg="addSp delSp modSp add mod">
        <pc:chgData name="Enric Mus Catala" userId="d65d4634-8e16-47e9-87ba-a549cc891999" providerId="ADAL" clId="{691A62D0-B4DF-4092-B847-DBF8356A7AF8}" dt="2022-12-21T17:26:31.850" v="2515"/>
        <pc:sldMkLst>
          <pc:docMk/>
          <pc:sldMk cId="440729649" sldId="289"/>
        </pc:sldMkLst>
        <pc:spChg chg="mod ord">
          <ac:chgData name="Enric Mus Catala" userId="d65d4634-8e16-47e9-87ba-a549cc891999" providerId="ADAL" clId="{691A62D0-B4DF-4092-B847-DBF8356A7AF8}" dt="2022-12-21T17:26:31.845" v="2512" actId="948"/>
          <ac:spMkLst>
            <pc:docMk/>
            <pc:sldMk cId="440729649" sldId="289"/>
            <ac:spMk id="2" creationId="{B8D6B1B9-77FC-433D-9851-1201CFDA3270}"/>
          </ac:spMkLst>
        </pc:spChg>
        <pc:spChg chg="add mod ord">
          <ac:chgData name="Enric Mus Catala" userId="d65d4634-8e16-47e9-87ba-a549cc891999" providerId="ADAL" clId="{691A62D0-B4DF-4092-B847-DBF8356A7AF8}" dt="2022-12-21T16:42:10.779" v="1341" actId="164"/>
          <ac:spMkLst>
            <pc:docMk/>
            <pc:sldMk cId="440729649" sldId="289"/>
            <ac:spMk id="3" creationId="{992942E6-345F-4FA9-AFF9-F5C184D028A8}"/>
          </ac:spMkLst>
        </pc:spChg>
        <pc:spChg chg="add mod ord">
          <ac:chgData name="Enric Mus Catala" userId="d65d4634-8e16-47e9-87ba-a549cc891999" providerId="ADAL" clId="{691A62D0-B4DF-4092-B847-DBF8356A7AF8}" dt="2022-12-21T16:42:44.634" v="1397" actId="14861"/>
          <ac:spMkLst>
            <pc:docMk/>
            <pc:sldMk cId="440729649" sldId="289"/>
            <ac:spMk id="4" creationId="{F6A28C6E-F31C-4B0A-B748-C5B6DC2A8714}"/>
          </ac:spMkLst>
        </pc:spChg>
        <pc:spChg chg="del mod ord">
          <ac:chgData name="Enric Mus Catala" userId="d65d4634-8e16-47e9-87ba-a549cc891999" providerId="ADAL" clId="{691A62D0-B4DF-4092-B847-DBF8356A7AF8}" dt="2022-12-21T16:45:02.011" v="1446" actId="478"/>
          <ac:spMkLst>
            <pc:docMk/>
            <pc:sldMk cId="440729649" sldId="289"/>
            <ac:spMk id="10" creationId="{523F2142-23CD-4ACA-BB2C-A54FDCFDCA25}"/>
          </ac:spMkLst>
        </pc:spChg>
        <pc:spChg chg="mod ord">
          <ac:chgData name="Enric Mus Catala" userId="d65d4634-8e16-47e9-87ba-a549cc891999" providerId="ADAL" clId="{691A62D0-B4DF-4092-B847-DBF8356A7AF8}" dt="2022-12-21T16:40:55.858" v="1323"/>
          <ac:spMkLst>
            <pc:docMk/>
            <pc:sldMk cId="440729649" sldId="289"/>
            <ac:spMk id="11" creationId="{1AEC9149-F5C3-45FA-B09D-CF6B7D2456CD}"/>
          </ac:spMkLst>
        </pc:spChg>
        <pc:spChg chg="add mod">
          <ac:chgData name="Enric Mus Catala" userId="d65d4634-8e16-47e9-87ba-a549cc891999" providerId="ADAL" clId="{691A62D0-B4DF-4092-B847-DBF8356A7AF8}" dt="2022-12-21T16:44:51.174" v="1445" actId="554"/>
          <ac:spMkLst>
            <pc:docMk/>
            <pc:sldMk cId="440729649" sldId="289"/>
            <ac:spMk id="16" creationId="{8A7F1A16-8F00-4723-B43A-3BF30C5C5044}"/>
          </ac:spMkLst>
        </pc:spChg>
        <pc:spChg chg="del">
          <ac:chgData name="Enric Mus Catala" userId="d65d4634-8e16-47e9-87ba-a549cc891999" providerId="ADAL" clId="{691A62D0-B4DF-4092-B847-DBF8356A7AF8}" dt="2022-12-21T16:39:59.250" v="1298" actId="478"/>
          <ac:spMkLst>
            <pc:docMk/>
            <pc:sldMk cId="440729649" sldId="289"/>
            <ac:spMk id="17" creationId="{B2E850FA-008A-4A18-95A7-6E44B2F69A6B}"/>
          </ac:spMkLst>
        </pc:spChg>
        <pc:spChg chg="del">
          <ac:chgData name="Enric Mus Catala" userId="d65d4634-8e16-47e9-87ba-a549cc891999" providerId="ADAL" clId="{691A62D0-B4DF-4092-B847-DBF8356A7AF8}" dt="2022-12-21T16:39:59.250" v="1298" actId="478"/>
          <ac:spMkLst>
            <pc:docMk/>
            <pc:sldMk cId="440729649" sldId="289"/>
            <ac:spMk id="18" creationId="{97B7515E-317A-4689-A8B1-9505FE4A1326}"/>
          </ac:spMkLst>
        </pc:spChg>
        <pc:spChg chg="del">
          <ac:chgData name="Enric Mus Catala" userId="d65d4634-8e16-47e9-87ba-a549cc891999" providerId="ADAL" clId="{691A62D0-B4DF-4092-B847-DBF8356A7AF8}" dt="2022-12-21T16:39:59.250" v="1298" actId="478"/>
          <ac:spMkLst>
            <pc:docMk/>
            <pc:sldMk cId="440729649" sldId="289"/>
            <ac:spMk id="19" creationId="{0E0CE450-3727-44EB-B1D1-49D65F0B0400}"/>
          </ac:spMkLst>
        </pc:spChg>
        <pc:spChg chg="add mod">
          <ac:chgData name="Enric Mus Catala" userId="d65d4634-8e16-47e9-87ba-a549cc891999" providerId="ADAL" clId="{691A62D0-B4DF-4092-B847-DBF8356A7AF8}" dt="2022-12-21T16:44:46.554" v="1444" actId="12788"/>
          <ac:spMkLst>
            <pc:docMk/>
            <pc:sldMk cId="440729649" sldId="289"/>
            <ac:spMk id="20" creationId="{60A2CBEF-7EC4-4344-A61C-9A5D7813FC8B}"/>
          </ac:spMkLst>
        </pc:spChg>
        <pc:spChg chg="del mod topLvl">
          <ac:chgData name="Enric Mus Catala" userId="d65d4634-8e16-47e9-87ba-a549cc891999" providerId="ADAL" clId="{691A62D0-B4DF-4092-B847-DBF8356A7AF8}" dt="2022-12-21T16:43:59.601" v="1412" actId="478"/>
          <ac:spMkLst>
            <pc:docMk/>
            <pc:sldMk cId="440729649" sldId="289"/>
            <ac:spMk id="22" creationId="{C48AEE7D-4BD2-499E-8029-7E5AE4FD601A}"/>
          </ac:spMkLst>
        </pc:spChg>
        <pc:spChg chg="del mod topLvl">
          <ac:chgData name="Enric Mus Catala" userId="d65d4634-8e16-47e9-87ba-a549cc891999" providerId="ADAL" clId="{691A62D0-B4DF-4092-B847-DBF8356A7AF8}" dt="2022-12-21T16:44:23.314" v="1432" actId="478"/>
          <ac:spMkLst>
            <pc:docMk/>
            <pc:sldMk cId="440729649" sldId="289"/>
            <ac:spMk id="23" creationId="{74C8D3C1-EBEE-48A5-AB67-27E5FAFA0D10}"/>
          </ac:spMkLst>
        </pc:spChg>
        <pc:spChg chg="mod topLvl">
          <ac:chgData name="Enric Mus Catala" userId="d65d4634-8e16-47e9-87ba-a549cc891999" providerId="ADAL" clId="{691A62D0-B4DF-4092-B847-DBF8356A7AF8}" dt="2022-12-21T16:43:10.195" v="1400" actId="165"/>
          <ac:spMkLst>
            <pc:docMk/>
            <pc:sldMk cId="440729649" sldId="289"/>
            <ac:spMk id="25" creationId="{153BEAA6-B56A-4A90-814F-BA0ADB6CB0C5}"/>
          </ac:spMkLst>
        </pc:spChg>
        <pc:spChg chg="del mod topLvl">
          <ac:chgData name="Enric Mus Catala" userId="d65d4634-8e16-47e9-87ba-a549cc891999" providerId="ADAL" clId="{691A62D0-B4DF-4092-B847-DBF8356A7AF8}" dt="2022-12-21T16:44:24.528" v="1433" actId="478"/>
          <ac:spMkLst>
            <pc:docMk/>
            <pc:sldMk cId="440729649" sldId="289"/>
            <ac:spMk id="26" creationId="{41D2619F-F495-463C-ABF6-C174DB35640C}"/>
          </ac:spMkLst>
        </pc:spChg>
        <pc:spChg chg="add mod topLvl">
          <ac:chgData name="Enric Mus Catala" userId="d65d4634-8e16-47e9-87ba-a549cc891999" providerId="ADAL" clId="{691A62D0-B4DF-4092-B847-DBF8356A7AF8}" dt="2022-12-21T16:44:37.467" v="1442" actId="164"/>
          <ac:spMkLst>
            <pc:docMk/>
            <pc:sldMk cId="440729649" sldId="289"/>
            <ac:spMk id="27" creationId="{56D05362-5681-4040-8651-CEE9AE808B36}"/>
          </ac:spMkLst>
        </pc:spChg>
        <pc:spChg chg="add mod">
          <ac:chgData name="Enric Mus Catala" userId="d65d4634-8e16-47e9-87ba-a549cc891999" providerId="ADAL" clId="{691A62D0-B4DF-4092-B847-DBF8356A7AF8}" dt="2022-12-21T16:44:51.174" v="1445" actId="554"/>
          <ac:spMkLst>
            <pc:docMk/>
            <pc:sldMk cId="440729649" sldId="289"/>
            <ac:spMk id="28" creationId="{14EA2A31-0B1A-44A2-8656-9867FAB1FCFD}"/>
          </ac:spMkLst>
        </pc:spChg>
        <pc:spChg chg="del">
          <ac:chgData name="Enric Mus Catala" userId="d65d4634-8e16-47e9-87ba-a549cc891999" providerId="ADAL" clId="{691A62D0-B4DF-4092-B847-DBF8356A7AF8}" dt="2022-12-21T16:39:59.250" v="1298" actId="478"/>
          <ac:spMkLst>
            <pc:docMk/>
            <pc:sldMk cId="440729649" sldId="289"/>
            <ac:spMk id="31" creationId="{C6D1CCEC-534A-4991-A816-2E51476A7F99}"/>
          </ac:spMkLst>
        </pc:spChg>
        <pc:spChg chg="del">
          <ac:chgData name="Enric Mus Catala" userId="d65d4634-8e16-47e9-87ba-a549cc891999" providerId="ADAL" clId="{691A62D0-B4DF-4092-B847-DBF8356A7AF8}" dt="2022-12-21T16:39:59.250" v="1298" actId="478"/>
          <ac:spMkLst>
            <pc:docMk/>
            <pc:sldMk cId="440729649" sldId="289"/>
            <ac:spMk id="34" creationId="{25F1FB64-AF7F-42EB-8AA9-58E989376F01}"/>
          </ac:spMkLst>
        </pc:spChg>
        <pc:grpChg chg="add mod">
          <ac:chgData name="Enric Mus Catala" userId="d65d4634-8e16-47e9-87ba-a549cc891999" providerId="ADAL" clId="{691A62D0-B4DF-4092-B847-DBF8356A7AF8}" dt="2022-12-21T16:44:28.790" v="1434" actId="12789"/>
          <ac:grpSpMkLst>
            <pc:docMk/>
            <pc:sldMk cId="440729649" sldId="289"/>
            <ac:grpSpMk id="6" creationId="{4ECA0716-84BD-4D23-8131-19F1D4F4E306}"/>
          </ac:grpSpMkLst>
        </pc:grpChg>
        <pc:grpChg chg="add del mod">
          <ac:chgData name="Enric Mus Catala" userId="d65d4634-8e16-47e9-87ba-a549cc891999" providerId="ADAL" clId="{691A62D0-B4DF-4092-B847-DBF8356A7AF8}" dt="2022-12-21T16:44:05.608" v="1413" actId="165"/>
          <ac:grpSpMkLst>
            <pc:docMk/>
            <pc:sldMk cId="440729649" sldId="289"/>
            <ac:grpSpMk id="7" creationId="{4622FEBC-708B-436A-8C93-D12210C27190}"/>
          </ac:grpSpMkLst>
        </pc:grpChg>
        <pc:grpChg chg="add mod">
          <ac:chgData name="Enric Mus Catala" userId="d65d4634-8e16-47e9-87ba-a549cc891999" providerId="ADAL" clId="{691A62D0-B4DF-4092-B847-DBF8356A7AF8}" dt="2022-12-21T16:44:46.554" v="1444" actId="12788"/>
          <ac:grpSpMkLst>
            <pc:docMk/>
            <pc:sldMk cId="440729649" sldId="289"/>
            <ac:grpSpMk id="8" creationId="{DB066A64-1BA9-4A5E-B538-0CB27079190C}"/>
          </ac:grpSpMkLst>
        </pc:grpChg>
        <pc:grpChg chg="add del mod">
          <ac:chgData name="Enric Mus Catala" userId="d65d4634-8e16-47e9-87ba-a549cc891999" providerId="ADAL" clId="{691A62D0-B4DF-4092-B847-DBF8356A7AF8}" dt="2022-12-21T16:43:10.195" v="1400" actId="165"/>
          <ac:grpSpMkLst>
            <pc:docMk/>
            <pc:sldMk cId="440729649" sldId="289"/>
            <ac:grpSpMk id="21" creationId="{A15D5260-091D-455D-B311-8DD3F4C27902}"/>
          </ac:grpSpMkLst>
        </pc:grpChg>
        <pc:graphicFrameChg chg="mod">
          <ac:chgData name="Enric Mus Catala" userId="d65d4634-8e16-47e9-87ba-a549cc891999" providerId="ADAL" clId="{691A62D0-B4DF-4092-B847-DBF8356A7AF8}" dt="2022-12-21T17:26:31.850" v="2515"/>
          <ac:graphicFrameMkLst>
            <pc:docMk/>
            <pc:sldMk cId="440729649" sldId="289"/>
            <ac:graphicFrameMk id="12" creationId="{F658D089-3C8A-4DB5-B385-1D8F29891C43}"/>
          </ac:graphicFrameMkLst>
        </pc:graphicFrameChg>
        <pc:picChg chg="add mod ord">
          <ac:chgData name="Enric Mus Catala" userId="d65d4634-8e16-47e9-87ba-a549cc891999" providerId="ADAL" clId="{691A62D0-B4DF-4092-B847-DBF8356A7AF8}" dt="2022-12-21T16:42:10.779" v="1341" actId="164"/>
          <ac:picMkLst>
            <pc:docMk/>
            <pc:sldMk cId="440729649" sldId="289"/>
            <ac:picMk id="13" creationId="{0AD81438-B921-41CF-92EF-99FDA4F7C315}"/>
          </ac:picMkLst>
        </pc:picChg>
        <pc:picChg chg="del">
          <ac:chgData name="Enric Mus Catala" userId="d65d4634-8e16-47e9-87ba-a549cc891999" providerId="ADAL" clId="{691A62D0-B4DF-4092-B847-DBF8356A7AF8}" dt="2022-12-21T16:39:52.007" v="1297" actId="478"/>
          <ac:picMkLst>
            <pc:docMk/>
            <pc:sldMk cId="440729649" sldId="289"/>
            <ac:picMk id="14" creationId="{4D132E28-CF18-4CF9-9FC0-AC8885D68F7A}"/>
          </ac:picMkLst>
        </pc:picChg>
        <pc:picChg chg="del mod ord topLvl">
          <ac:chgData name="Enric Mus Catala" userId="d65d4634-8e16-47e9-87ba-a549cc891999" providerId="ADAL" clId="{691A62D0-B4DF-4092-B847-DBF8356A7AF8}" dt="2022-12-21T16:44:21.290" v="1431" actId="478"/>
          <ac:picMkLst>
            <pc:docMk/>
            <pc:sldMk cId="440729649" sldId="289"/>
            <ac:picMk id="24" creationId="{CB3F4F92-E507-470D-B68D-76EB9601D4B3}"/>
          </ac:picMkLst>
        </pc:picChg>
        <pc:picChg chg="add mod ord">
          <ac:chgData name="Enric Mus Catala" userId="d65d4634-8e16-47e9-87ba-a549cc891999" providerId="ADAL" clId="{691A62D0-B4DF-4092-B847-DBF8356A7AF8}" dt="2022-12-21T16:44:37.467" v="1442" actId="164"/>
          <ac:picMkLst>
            <pc:docMk/>
            <pc:sldMk cId="440729649" sldId="289"/>
            <ac:picMk id="29" creationId="{974446CD-1303-4891-A88C-CC631447FB9B}"/>
          </ac:picMkLst>
        </pc:picChg>
      </pc:sldChg>
      <pc:sldChg chg="addSp delSp modSp add mod">
        <pc:chgData name="Enric Mus Catala" userId="d65d4634-8e16-47e9-87ba-a549cc891999" providerId="ADAL" clId="{691A62D0-B4DF-4092-B847-DBF8356A7AF8}" dt="2022-12-21T18:09:44.948" v="2990" actId="1035"/>
        <pc:sldMkLst>
          <pc:docMk/>
          <pc:sldMk cId="1341330009" sldId="290"/>
        </pc:sldMkLst>
        <pc:spChg chg="mod ord">
          <ac:chgData name="Enric Mus Catala" userId="d65d4634-8e16-47e9-87ba-a549cc891999" providerId="ADAL" clId="{691A62D0-B4DF-4092-B847-DBF8356A7AF8}" dt="2022-12-21T17:26:36.866" v="2517" actId="948"/>
          <ac:spMkLst>
            <pc:docMk/>
            <pc:sldMk cId="1341330009" sldId="290"/>
            <ac:spMk id="2" creationId="{B8D6B1B9-77FC-433D-9851-1201CFDA3270}"/>
          </ac:spMkLst>
        </pc:spChg>
        <pc:spChg chg="del">
          <ac:chgData name="Enric Mus Catala" userId="d65d4634-8e16-47e9-87ba-a549cc891999" providerId="ADAL" clId="{691A62D0-B4DF-4092-B847-DBF8356A7AF8}" dt="2022-12-21T17:04:50.358" v="2099" actId="478"/>
          <ac:spMkLst>
            <pc:docMk/>
            <pc:sldMk cId="1341330009" sldId="290"/>
            <ac:spMk id="4" creationId="{F6A28C6E-F31C-4B0A-B748-C5B6DC2A8714}"/>
          </ac:spMkLst>
        </pc:spChg>
        <pc:spChg chg="add del mod modVis">
          <ac:chgData name="Enric Mus Catala" userId="d65d4634-8e16-47e9-87ba-a549cc891999" providerId="ADAL" clId="{691A62D0-B4DF-4092-B847-DBF8356A7AF8}" dt="2022-12-21T17:04:56.654" v="2162"/>
          <ac:spMkLst>
            <pc:docMk/>
            <pc:sldMk cId="1341330009" sldId="290"/>
            <ac:spMk id="5" creationId="{3121E01B-72EE-4787-AE8B-9C9B56CD7BFE}"/>
          </ac:spMkLst>
        </pc:spChg>
        <pc:spChg chg="add del mod ord topLvl">
          <ac:chgData name="Enric Mus Catala" userId="d65d4634-8e16-47e9-87ba-a549cc891999" providerId="ADAL" clId="{691A62D0-B4DF-4092-B847-DBF8356A7AF8}" dt="2022-12-21T18:09:38.429" v="2976" actId="12789"/>
          <ac:spMkLst>
            <pc:docMk/>
            <pc:sldMk cId="1341330009" sldId="290"/>
            <ac:spMk id="9" creationId="{AF4AC920-CCE9-453D-BAA1-1C82419F7FA3}"/>
          </ac:spMkLst>
        </pc:spChg>
        <pc:spChg chg="mod ord">
          <ac:chgData name="Enric Mus Catala" userId="d65d4634-8e16-47e9-87ba-a549cc891999" providerId="ADAL" clId="{691A62D0-B4DF-4092-B847-DBF8356A7AF8}" dt="2022-12-21T17:21:17.404" v="2442"/>
          <ac:spMkLst>
            <pc:docMk/>
            <pc:sldMk cId="1341330009" sldId="290"/>
            <ac:spMk id="11" creationId="{1AEC9149-F5C3-45FA-B09D-CF6B7D2456CD}"/>
          </ac:spMkLst>
        </pc:spChg>
        <pc:spChg chg="add del mod">
          <ac:chgData name="Enric Mus Catala" userId="d65d4634-8e16-47e9-87ba-a549cc891999" providerId="ADAL" clId="{691A62D0-B4DF-4092-B847-DBF8356A7AF8}" dt="2022-12-21T17:17:06.655" v="2292"/>
          <ac:spMkLst>
            <pc:docMk/>
            <pc:sldMk cId="1341330009" sldId="290"/>
            <ac:spMk id="14" creationId="{F3B52267-8796-4699-834A-72B7140E52CE}"/>
          </ac:spMkLst>
        </pc:spChg>
        <pc:spChg chg="del">
          <ac:chgData name="Enric Mus Catala" userId="d65d4634-8e16-47e9-87ba-a549cc891999" providerId="ADAL" clId="{691A62D0-B4DF-4092-B847-DBF8356A7AF8}" dt="2022-12-21T17:04:50.358" v="2099" actId="478"/>
          <ac:spMkLst>
            <pc:docMk/>
            <pc:sldMk cId="1341330009" sldId="290"/>
            <ac:spMk id="16" creationId="{8A7F1A16-8F00-4723-B43A-3BF30C5C5044}"/>
          </ac:spMkLst>
        </pc:spChg>
        <pc:spChg chg="add mod ord topLvl">
          <ac:chgData name="Enric Mus Catala" userId="d65d4634-8e16-47e9-87ba-a549cc891999" providerId="ADAL" clId="{691A62D0-B4DF-4092-B847-DBF8356A7AF8}" dt="2022-12-21T18:09:38.429" v="2976" actId="12789"/>
          <ac:spMkLst>
            <pc:docMk/>
            <pc:sldMk cId="1341330009" sldId="290"/>
            <ac:spMk id="18" creationId="{CEBAF0F9-0C80-4439-B403-340F2CB33238}"/>
          </ac:spMkLst>
        </pc:spChg>
        <pc:spChg chg="del">
          <ac:chgData name="Enric Mus Catala" userId="d65d4634-8e16-47e9-87ba-a549cc891999" providerId="ADAL" clId="{691A62D0-B4DF-4092-B847-DBF8356A7AF8}" dt="2022-12-21T17:04:50.358" v="2099" actId="478"/>
          <ac:spMkLst>
            <pc:docMk/>
            <pc:sldMk cId="1341330009" sldId="290"/>
            <ac:spMk id="20" creationId="{60A2CBEF-7EC4-4344-A61C-9A5D7813FC8B}"/>
          </ac:spMkLst>
        </pc:spChg>
        <pc:spChg chg="add mod ord">
          <ac:chgData name="Enric Mus Catala" userId="d65d4634-8e16-47e9-87ba-a549cc891999" providerId="ADAL" clId="{691A62D0-B4DF-4092-B847-DBF8356A7AF8}" dt="2022-12-21T17:21:17.406" v="2452"/>
          <ac:spMkLst>
            <pc:docMk/>
            <pc:sldMk cId="1341330009" sldId="290"/>
            <ac:spMk id="24" creationId="{A27C0066-1A1F-46B2-B687-D5C242CBCA16}"/>
          </ac:spMkLst>
        </pc:spChg>
        <pc:spChg chg="mod ord">
          <ac:chgData name="Enric Mus Catala" userId="d65d4634-8e16-47e9-87ba-a549cc891999" providerId="ADAL" clId="{691A62D0-B4DF-4092-B847-DBF8356A7AF8}" dt="2022-12-21T17:21:17.405" v="2444"/>
          <ac:spMkLst>
            <pc:docMk/>
            <pc:sldMk cId="1341330009" sldId="290"/>
            <ac:spMk id="25" creationId="{153BEAA6-B56A-4A90-814F-BA0ADB6CB0C5}"/>
          </ac:spMkLst>
        </pc:spChg>
        <pc:spChg chg="del">
          <ac:chgData name="Enric Mus Catala" userId="d65d4634-8e16-47e9-87ba-a549cc891999" providerId="ADAL" clId="{691A62D0-B4DF-4092-B847-DBF8356A7AF8}" dt="2022-12-21T17:04:50.358" v="2099" actId="478"/>
          <ac:spMkLst>
            <pc:docMk/>
            <pc:sldMk cId="1341330009" sldId="290"/>
            <ac:spMk id="28" creationId="{14EA2A31-0B1A-44A2-8656-9867FAB1FCFD}"/>
          </ac:spMkLst>
        </pc:spChg>
        <pc:spChg chg="add mod ord">
          <ac:chgData name="Enric Mus Catala" userId="d65d4634-8e16-47e9-87ba-a549cc891999" providerId="ADAL" clId="{691A62D0-B4DF-4092-B847-DBF8356A7AF8}" dt="2022-12-21T17:24:12.895" v="2502" actId="164"/>
          <ac:spMkLst>
            <pc:docMk/>
            <pc:sldMk cId="1341330009" sldId="290"/>
            <ac:spMk id="30" creationId="{5ED73A60-ED02-4F22-A36F-77D083D1A29E}"/>
          </ac:spMkLst>
        </pc:spChg>
        <pc:spChg chg="add del mod modVis">
          <ac:chgData name="Enric Mus Catala" userId="d65d4634-8e16-47e9-87ba-a549cc891999" providerId="ADAL" clId="{691A62D0-B4DF-4092-B847-DBF8356A7AF8}" dt="2022-12-21T17:26:36.898" v="2557"/>
          <ac:spMkLst>
            <pc:docMk/>
            <pc:sldMk cId="1341330009" sldId="290"/>
            <ac:spMk id="33" creationId="{998D10CE-81D2-4E7E-804E-230DADA3DAE7}"/>
          </ac:spMkLst>
        </pc:spChg>
        <pc:grpChg chg="del">
          <ac:chgData name="Enric Mus Catala" userId="d65d4634-8e16-47e9-87ba-a549cc891999" providerId="ADAL" clId="{691A62D0-B4DF-4092-B847-DBF8356A7AF8}" dt="2022-12-21T17:04:50.358" v="2099" actId="478"/>
          <ac:grpSpMkLst>
            <pc:docMk/>
            <pc:sldMk cId="1341330009" sldId="290"/>
            <ac:grpSpMk id="6" creationId="{4ECA0716-84BD-4D23-8131-19F1D4F4E306}"/>
          </ac:grpSpMkLst>
        </pc:grpChg>
        <pc:grpChg chg="del">
          <ac:chgData name="Enric Mus Catala" userId="d65d4634-8e16-47e9-87ba-a549cc891999" providerId="ADAL" clId="{691A62D0-B4DF-4092-B847-DBF8356A7AF8}" dt="2022-12-21T17:04:50.358" v="2099" actId="478"/>
          <ac:grpSpMkLst>
            <pc:docMk/>
            <pc:sldMk cId="1341330009" sldId="290"/>
            <ac:grpSpMk id="8" creationId="{DB066A64-1BA9-4A5E-B538-0CB27079190C}"/>
          </ac:grpSpMkLst>
        </pc:grpChg>
        <pc:grpChg chg="add del mod">
          <ac:chgData name="Enric Mus Catala" userId="d65d4634-8e16-47e9-87ba-a549cc891999" providerId="ADAL" clId="{691A62D0-B4DF-4092-B847-DBF8356A7AF8}" dt="2022-12-21T17:15:52.615" v="2282" actId="165"/>
          <ac:grpSpMkLst>
            <pc:docMk/>
            <pc:sldMk cId="1341330009" sldId="290"/>
            <ac:grpSpMk id="10" creationId="{0C4BD91B-C46A-4C6E-941B-D521D8E985AE}"/>
          </ac:grpSpMkLst>
        </pc:grpChg>
        <pc:grpChg chg="add del mod">
          <ac:chgData name="Enric Mus Catala" userId="d65d4634-8e16-47e9-87ba-a549cc891999" providerId="ADAL" clId="{691A62D0-B4DF-4092-B847-DBF8356A7AF8}" dt="2022-12-21T17:19:41.566" v="2381" actId="165"/>
          <ac:grpSpMkLst>
            <pc:docMk/>
            <pc:sldMk cId="1341330009" sldId="290"/>
            <ac:grpSpMk id="19" creationId="{4D0961DE-1285-416B-9181-CDB94238CC75}"/>
          </ac:grpSpMkLst>
        </pc:grpChg>
        <pc:grpChg chg="add del mod">
          <ac:chgData name="Enric Mus Catala" userId="d65d4634-8e16-47e9-87ba-a549cc891999" providerId="ADAL" clId="{691A62D0-B4DF-4092-B847-DBF8356A7AF8}" dt="2022-12-21T17:20:50.116" v="2415" actId="165"/>
          <ac:grpSpMkLst>
            <pc:docMk/>
            <pc:sldMk cId="1341330009" sldId="290"/>
            <ac:grpSpMk id="23" creationId="{91DDA944-2B46-4D9B-B152-568EA0DA88B3}"/>
          </ac:grpSpMkLst>
        </pc:grpChg>
        <pc:grpChg chg="add del mod">
          <ac:chgData name="Enric Mus Catala" userId="d65d4634-8e16-47e9-87ba-a549cc891999" providerId="ADAL" clId="{691A62D0-B4DF-4092-B847-DBF8356A7AF8}" dt="2022-12-21T17:21:06.244" v="2432" actId="165"/>
          <ac:grpSpMkLst>
            <pc:docMk/>
            <pc:sldMk cId="1341330009" sldId="290"/>
            <ac:grpSpMk id="26" creationId="{512C3311-E27D-4668-B514-36D7F420EFB1}"/>
          </ac:grpSpMkLst>
        </pc:grpChg>
        <pc:grpChg chg="add mod">
          <ac:chgData name="Enric Mus Catala" userId="d65d4634-8e16-47e9-87ba-a549cc891999" providerId="ADAL" clId="{691A62D0-B4DF-4092-B847-DBF8356A7AF8}" dt="2022-12-21T17:24:24.219" v="2505" actId="14861"/>
          <ac:grpSpMkLst>
            <pc:docMk/>
            <pc:sldMk cId="1341330009" sldId="290"/>
            <ac:grpSpMk id="31" creationId="{BE3DD712-D5CB-4678-A8F5-922329DB4E0C}"/>
          </ac:grpSpMkLst>
        </pc:grpChg>
        <pc:grpChg chg="add mod">
          <ac:chgData name="Enric Mus Catala" userId="d65d4634-8e16-47e9-87ba-a549cc891999" providerId="ADAL" clId="{691A62D0-B4DF-4092-B847-DBF8356A7AF8}" dt="2022-12-21T17:24:24.219" v="2505" actId="14861"/>
          <ac:grpSpMkLst>
            <pc:docMk/>
            <pc:sldMk cId="1341330009" sldId="290"/>
            <ac:grpSpMk id="32" creationId="{8769F4E8-F016-4506-A859-B06015CEE989}"/>
          </ac:grpSpMkLst>
        </pc:grpChg>
        <pc:graphicFrameChg chg="mod">
          <ac:chgData name="Enric Mus Catala" userId="d65d4634-8e16-47e9-87ba-a549cc891999" providerId="ADAL" clId="{691A62D0-B4DF-4092-B847-DBF8356A7AF8}" dt="2022-12-21T17:26:36.901" v="2559"/>
          <ac:graphicFrameMkLst>
            <pc:docMk/>
            <pc:sldMk cId="1341330009" sldId="290"/>
            <ac:graphicFrameMk id="12" creationId="{F658D089-3C8A-4DB5-B385-1D8F29891C43}"/>
          </ac:graphicFrameMkLst>
        </pc:graphicFrameChg>
        <pc:picChg chg="add del mod ord topLvl">
          <ac:chgData name="Enric Mus Catala" userId="d65d4634-8e16-47e9-87ba-a549cc891999" providerId="ADAL" clId="{691A62D0-B4DF-4092-B847-DBF8356A7AF8}" dt="2022-12-21T18:09:44.948" v="2990" actId="1035"/>
          <ac:picMkLst>
            <pc:docMk/>
            <pc:sldMk cId="1341330009" sldId="290"/>
            <ac:picMk id="17" creationId="{502F1B41-9776-46A8-98CA-AEC01613EEE2}"/>
          </ac:picMkLst>
        </pc:picChg>
        <pc:picChg chg="add mod ord">
          <ac:chgData name="Enric Mus Catala" userId="d65d4634-8e16-47e9-87ba-a549cc891999" providerId="ADAL" clId="{691A62D0-B4DF-4092-B847-DBF8356A7AF8}" dt="2022-12-21T17:24:12.895" v="2502" actId="164"/>
          <ac:picMkLst>
            <pc:docMk/>
            <pc:sldMk cId="1341330009" sldId="290"/>
            <ac:picMk id="22" creationId="{CCE913C3-DB03-41B4-BC7F-418A9674B0E9}"/>
          </ac:picMkLst>
        </pc:picChg>
      </pc:sldChg>
      <pc:sldChg chg="modSp add mod ord">
        <pc:chgData name="Enric Mus Catala" userId="d65d4634-8e16-47e9-87ba-a549cc891999" providerId="ADAL" clId="{691A62D0-B4DF-4092-B847-DBF8356A7AF8}" dt="2022-12-21T17:08:33.452" v="2248" actId="20577"/>
        <pc:sldMkLst>
          <pc:docMk/>
          <pc:sldMk cId="1512038286" sldId="291"/>
        </pc:sldMkLst>
        <pc:spChg chg="mod">
          <ac:chgData name="Enric Mus Catala" userId="d65d4634-8e16-47e9-87ba-a549cc891999" providerId="ADAL" clId="{691A62D0-B4DF-4092-B847-DBF8356A7AF8}" dt="2022-12-21T17:08:33.452" v="2248" actId="20577"/>
          <ac:spMkLst>
            <pc:docMk/>
            <pc:sldMk cId="1512038286" sldId="291"/>
            <ac:spMk id="4" creationId="{D51A6D85-3837-435F-A342-5A3F98172B12}"/>
          </ac:spMkLst>
        </pc:spChg>
      </pc:sldChg>
      <pc:sldChg chg="addSp delSp modSp add mod modNotesTx">
        <pc:chgData name="Enric Mus Catala" userId="d65d4634-8e16-47e9-87ba-a549cc891999" providerId="ADAL" clId="{691A62D0-B4DF-4092-B847-DBF8356A7AF8}" dt="2022-12-21T23:09:54.808" v="6972" actId="14100"/>
        <pc:sldMkLst>
          <pc:docMk/>
          <pc:sldMk cId="1622334049" sldId="292"/>
        </pc:sldMkLst>
        <pc:spChg chg="mod">
          <ac:chgData name="Enric Mus Catala" userId="d65d4634-8e16-47e9-87ba-a549cc891999" providerId="ADAL" clId="{691A62D0-B4DF-4092-B847-DBF8356A7AF8}" dt="2022-12-21T18:15:38.668" v="3243" actId="948"/>
          <ac:spMkLst>
            <pc:docMk/>
            <pc:sldMk cId="1622334049" sldId="292"/>
            <ac:spMk id="2" creationId="{B8D6B1B9-77FC-433D-9851-1201CFDA3270}"/>
          </ac:spMkLst>
        </pc:spChg>
        <pc:spChg chg="add mod">
          <ac:chgData name="Enric Mus Catala" userId="d65d4634-8e16-47e9-87ba-a549cc891999" providerId="ADAL" clId="{691A62D0-B4DF-4092-B847-DBF8356A7AF8}" dt="2022-12-21T18:14:49.516" v="3228" actId="164"/>
          <ac:spMkLst>
            <pc:docMk/>
            <pc:sldMk cId="1622334049" sldId="292"/>
            <ac:spMk id="3" creationId="{EC94CECA-A89B-4768-A23E-DEBDAF149AC9}"/>
          </ac:spMkLst>
        </pc:spChg>
        <pc:spChg chg="add del mod modVis">
          <ac:chgData name="Enric Mus Catala" userId="d65d4634-8e16-47e9-87ba-a549cc891999" providerId="ADAL" clId="{691A62D0-B4DF-4092-B847-DBF8356A7AF8}" dt="2022-12-21T18:11:54.509" v="3076"/>
          <ac:spMkLst>
            <pc:docMk/>
            <pc:sldMk cId="1622334049" sldId="292"/>
            <ac:spMk id="4" creationId="{FD0B2B34-CF7F-4875-A29F-A9E44DA44E26}"/>
          </ac:spMkLst>
        </pc:spChg>
        <pc:spChg chg="add del mod modVis">
          <ac:chgData name="Enric Mus Catala" userId="d65d4634-8e16-47e9-87ba-a549cc891999" providerId="ADAL" clId="{691A62D0-B4DF-4092-B847-DBF8356A7AF8}" dt="2022-12-21T18:11:57.512" v="3121"/>
          <ac:spMkLst>
            <pc:docMk/>
            <pc:sldMk cId="1622334049" sldId="292"/>
            <ac:spMk id="5" creationId="{211BDB69-439C-4E98-A481-4165E8AE7B69}"/>
          </ac:spMkLst>
        </pc:spChg>
        <pc:spChg chg="add del mod modVis">
          <ac:chgData name="Enric Mus Catala" userId="d65d4634-8e16-47e9-87ba-a549cc891999" providerId="ADAL" clId="{691A62D0-B4DF-4092-B847-DBF8356A7AF8}" dt="2022-12-21T18:11:59.703" v="3165"/>
          <ac:spMkLst>
            <pc:docMk/>
            <pc:sldMk cId="1622334049" sldId="292"/>
            <ac:spMk id="6" creationId="{6BCA9FAD-4F7B-4943-BA9B-A0F042265CD6}"/>
          </ac:spMkLst>
        </pc:spChg>
        <pc:spChg chg="add mod">
          <ac:chgData name="Enric Mus Catala" userId="d65d4634-8e16-47e9-87ba-a549cc891999" providerId="ADAL" clId="{691A62D0-B4DF-4092-B847-DBF8356A7AF8}" dt="2022-12-21T18:13:49.927" v="3205" actId="164"/>
          <ac:spMkLst>
            <pc:docMk/>
            <pc:sldMk cId="1622334049" sldId="292"/>
            <ac:spMk id="7" creationId="{12AE29FE-6342-4E18-8132-3DD12E5AD56A}"/>
          </ac:spMkLst>
        </pc:spChg>
        <pc:spChg chg="add del mod modVis">
          <ac:chgData name="Enric Mus Catala" userId="d65d4634-8e16-47e9-87ba-a549cc891999" providerId="ADAL" clId="{691A62D0-B4DF-4092-B847-DBF8356A7AF8}" dt="2022-12-21T18:15:38.684" v="3283"/>
          <ac:spMkLst>
            <pc:docMk/>
            <pc:sldMk cId="1622334049" sldId="292"/>
            <ac:spMk id="14" creationId="{CA04BFF0-0C3B-45EF-8842-5B3BE8921638}"/>
          </ac:spMkLst>
        </pc:spChg>
        <pc:spChg chg="add mod">
          <ac:chgData name="Enric Mus Catala" userId="d65d4634-8e16-47e9-87ba-a549cc891999" providerId="ADAL" clId="{691A62D0-B4DF-4092-B847-DBF8356A7AF8}" dt="2022-12-21T18:15:13.240" v="3237" actId="20577"/>
          <ac:spMkLst>
            <pc:docMk/>
            <pc:sldMk cId="1622334049" sldId="292"/>
            <ac:spMk id="15" creationId="{77D989D1-8357-4C06-BB6F-259D6F8D3CF8}"/>
          </ac:spMkLst>
        </pc:spChg>
        <pc:spChg chg="add mod">
          <ac:chgData name="Enric Mus Catala" userId="d65d4634-8e16-47e9-87ba-a549cc891999" providerId="ADAL" clId="{691A62D0-B4DF-4092-B847-DBF8356A7AF8}" dt="2022-12-21T18:28:23.643" v="3674" actId="14100"/>
          <ac:spMkLst>
            <pc:docMk/>
            <pc:sldMk cId="1622334049" sldId="292"/>
            <ac:spMk id="16" creationId="{5A3D166D-3ED9-41B7-A9BF-5AFAB4D8AB3A}"/>
          </ac:spMkLst>
        </pc:spChg>
        <pc:spChg chg="add mod">
          <ac:chgData name="Enric Mus Catala" userId="d65d4634-8e16-47e9-87ba-a549cc891999" providerId="ADAL" clId="{691A62D0-B4DF-4092-B847-DBF8356A7AF8}" dt="2022-12-21T18:13:49.927" v="3205" actId="164"/>
          <ac:spMkLst>
            <pc:docMk/>
            <pc:sldMk cId="1622334049" sldId="292"/>
            <ac:spMk id="20" creationId="{C2BC4F18-F62E-42D9-ADCA-715154CA7569}"/>
          </ac:spMkLst>
        </pc:spChg>
        <pc:spChg chg="add mod">
          <ac:chgData name="Enric Mus Catala" userId="d65d4634-8e16-47e9-87ba-a549cc891999" providerId="ADAL" clId="{691A62D0-B4DF-4092-B847-DBF8356A7AF8}" dt="2022-12-21T18:13:49.927" v="3205" actId="164"/>
          <ac:spMkLst>
            <pc:docMk/>
            <pc:sldMk cId="1622334049" sldId="292"/>
            <ac:spMk id="21" creationId="{3DED8AB9-C07A-489A-A2C5-0620BEA2DF9C}"/>
          </ac:spMkLst>
        </pc:spChg>
        <pc:spChg chg="del">
          <ac:chgData name="Enric Mus Catala" userId="d65d4634-8e16-47e9-87ba-a549cc891999" providerId="ADAL" clId="{691A62D0-B4DF-4092-B847-DBF8356A7AF8}" dt="2022-12-21T18:55:11.165" v="4477" actId="478"/>
          <ac:spMkLst>
            <pc:docMk/>
            <pc:sldMk cId="1622334049" sldId="292"/>
            <ac:spMk id="24" creationId="{A27C0066-1A1F-46B2-B687-D5C242CBCA16}"/>
          </ac:spMkLst>
        </pc:spChg>
        <pc:spChg chg="mod">
          <ac:chgData name="Enric Mus Catala" userId="d65d4634-8e16-47e9-87ba-a549cc891999" providerId="ADAL" clId="{691A62D0-B4DF-4092-B847-DBF8356A7AF8}" dt="2022-12-21T18:14:06.687" v="3213" actId="20577"/>
          <ac:spMkLst>
            <pc:docMk/>
            <pc:sldMk cId="1622334049" sldId="292"/>
            <ac:spMk id="26" creationId="{A8E7939B-6DA0-49FD-8D64-B9146C6E740F}"/>
          </ac:spMkLst>
        </pc:spChg>
        <pc:spChg chg="mod">
          <ac:chgData name="Enric Mus Catala" userId="d65d4634-8e16-47e9-87ba-a549cc891999" providerId="ADAL" clId="{691A62D0-B4DF-4092-B847-DBF8356A7AF8}" dt="2022-12-21T18:14:09.074" v="3215" actId="20577"/>
          <ac:spMkLst>
            <pc:docMk/>
            <pc:sldMk cId="1622334049" sldId="292"/>
            <ac:spMk id="27" creationId="{6B1E74F3-564A-4545-B04F-0C43852E1469}"/>
          </ac:spMkLst>
        </pc:spChg>
        <pc:spChg chg="mod">
          <ac:chgData name="Enric Mus Catala" userId="d65d4634-8e16-47e9-87ba-a549cc891999" providerId="ADAL" clId="{691A62D0-B4DF-4092-B847-DBF8356A7AF8}" dt="2022-12-21T18:14:12.389" v="3217" actId="20577"/>
          <ac:spMkLst>
            <pc:docMk/>
            <pc:sldMk cId="1622334049" sldId="292"/>
            <ac:spMk id="28" creationId="{B0E863C1-4C06-457B-9A83-CD11D0D47438}"/>
          </ac:spMkLst>
        </pc:spChg>
        <pc:spChg chg="add mod">
          <ac:chgData name="Enric Mus Catala" userId="d65d4634-8e16-47e9-87ba-a549cc891999" providerId="ADAL" clId="{691A62D0-B4DF-4092-B847-DBF8356A7AF8}" dt="2022-12-21T18:28:05.922" v="3672" actId="14100"/>
          <ac:spMkLst>
            <pc:docMk/>
            <pc:sldMk cId="1622334049" sldId="292"/>
            <ac:spMk id="33" creationId="{C1734E8F-C36E-41BA-9C2F-88E73DB79EDA}"/>
          </ac:spMkLst>
        </pc:spChg>
        <pc:spChg chg="add mod">
          <ac:chgData name="Enric Mus Catala" userId="d65d4634-8e16-47e9-87ba-a549cc891999" providerId="ADAL" clId="{691A62D0-B4DF-4092-B847-DBF8356A7AF8}" dt="2022-12-21T18:36:23.247" v="3946" actId="3064"/>
          <ac:spMkLst>
            <pc:docMk/>
            <pc:sldMk cId="1622334049" sldId="292"/>
            <ac:spMk id="34" creationId="{77C66360-EB7A-4367-BEB1-2D4E58D333E0}"/>
          </ac:spMkLst>
        </pc:spChg>
        <pc:spChg chg="add mod">
          <ac:chgData name="Enric Mus Catala" userId="d65d4634-8e16-47e9-87ba-a549cc891999" providerId="ADAL" clId="{691A62D0-B4DF-4092-B847-DBF8356A7AF8}" dt="2022-12-21T18:37:00.277" v="3951" actId="948"/>
          <ac:spMkLst>
            <pc:docMk/>
            <pc:sldMk cId="1622334049" sldId="292"/>
            <ac:spMk id="35" creationId="{E6AB36CC-80A6-4A34-9A58-ACEEF1FAECAE}"/>
          </ac:spMkLst>
        </pc:spChg>
        <pc:spChg chg="add mod">
          <ac:chgData name="Enric Mus Catala" userId="d65d4634-8e16-47e9-87ba-a549cc891999" providerId="ADAL" clId="{691A62D0-B4DF-4092-B847-DBF8356A7AF8}" dt="2022-12-21T18:30:45.588" v="3930" actId="208"/>
          <ac:spMkLst>
            <pc:docMk/>
            <pc:sldMk cId="1622334049" sldId="292"/>
            <ac:spMk id="38" creationId="{C0B458E7-6F5D-4964-96B3-B19A8EAAEDED}"/>
          </ac:spMkLst>
        </pc:spChg>
        <pc:grpChg chg="add mod">
          <ac:chgData name="Enric Mus Catala" userId="d65d4634-8e16-47e9-87ba-a549cc891999" providerId="ADAL" clId="{691A62D0-B4DF-4092-B847-DBF8356A7AF8}" dt="2022-12-21T18:14:49.516" v="3228" actId="164"/>
          <ac:grpSpMkLst>
            <pc:docMk/>
            <pc:sldMk cId="1622334049" sldId="292"/>
            <ac:grpSpMk id="8" creationId="{C7FECA58-D182-4784-95A8-FCE03A2D2355}"/>
          </ac:grpSpMkLst>
        </pc:grpChg>
        <pc:grpChg chg="add mod">
          <ac:chgData name="Enric Mus Catala" userId="d65d4634-8e16-47e9-87ba-a549cc891999" providerId="ADAL" clId="{691A62D0-B4DF-4092-B847-DBF8356A7AF8}" dt="2022-12-21T18:18:24.169" v="3320" actId="1076"/>
          <ac:grpSpMkLst>
            <pc:docMk/>
            <pc:sldMk cId="1622334049" sldId="292"/>
            <ac:grpSpMk id="10" creationId="{8C4E7497-DAE1-4A1E-9204-E8094CFC0777}"/>
          </ac:grpSpMkLst>
        </pc:grpChg>
        <pc:grpChg chg="add mod">
          <ac:chgData name="Enric Mus Catala" userId="d65d4634-8e16-47e9-87ba-a549cc891999" providerId="ADAL" clId="{691A62D0-B4DF-4092-B847-DBF8356A7AF8}" dt="2022-12-21T18:15:38.170" v="3242" actId="552"/>
          <ac:grpSpMkLst>
            <pc:docMk/>
            <pc:sldMk cId="1622334049" sldId="292"/>
            <ac:grpSpMk id="13" creationId="{0C1A9569-9525-41B3-A88B-B2C39336E2B8}"/>
          </ac:grpSpMkLst>
        </pc:grpChg>
        <pc:grpChg chg="add mod">
          <ac:chgData name="Enric Mus Catala" userId="d65d4634-8e16-47e9-87ba-a549cc891999" providerId="ADAL" clId="{691A62D0-B4DF-4092-B847-DBF8356A7AF8}" dt="2022-12-21T18:14:58.530" v="3230" actId="164"/>
          <ac:grpSpMkLst>
            <pc:docMk/>
            <pc:sldMk cId="1622334049" sldId="292"/>
            <ac:grpSpMk id="23" creationId="{4A3E1F74-8697-45F7-A00E-190991F65AEE}"/>
          </ac:grpSpMkLst>
        </pc:grpChg>
        <pc:grpChg chg="del">
          <ac:chgData name="Enric Mus Catala" userId="d65d4634-8e16-47e9-87ba-a549cc891999" providerId="ADAL" clId="{691A62D0-B4DF-4092-B847-DBF8356A7AF8}" dt="2022-12-21T18:11:23.863" v="2993" actId="478"/>
          <ac:grpSpMkLst>
            <pc:docMk/>
            <pc:sldMk cId="1622334049" sldId="292"/>
            <ac:grpSpMk id="31" creationId="{BE3DD712-D5CB-4678-A8F5-922329DB4E0C}"/>
          </ac:grpSpMkLst>
        </pc:grpChg>
        <pc:grpChg chg="del">
          <ac:chgData name="Enric Mus Catala" userId="d65d4634-8e16-47e9-87ba-a549cc891999" providerId="ADAL" clId="{691A62D0-B4DF-4092-B847-DBF8356A7AF8}" dt="2022-12-21T18:11:23.107" v="2992" actId="478"/>
          <ac:grpSpMkLst>
            <pc:docMk/>
            <pc:sldMk cId="1622334049" sldId="292"/>
            <ac:grpSpMk id="32" creationId="{8769F4E8-F016-4506-A859-B06015CEE989}"/>
          </ac:grpSpMkLst>
        </pc:grpChg>
        <pc:grpChg chg="add mod">
          <ac:chgData name="Enric Mus Catala" userId="d65d4634-8e16-47e9-87ba-a549cc891999" providerId="ADAL" clId="{691A62D0-B4DF-4092-B847-DBF8356A7AF8}" dt="2022-12-21T18:28:17.954" v="3673" actId="555"/>
          <ac:grpSpMkLst>
            <pc:docMk/>
            <pc:sldMk cId="1622334049" sldId="292"/>
            <ac:grpSpMk id="36" creationId="{3C068EEB-D85B-43DC-BD83-0ADD8FA99186}"/>
          </ac:grpSpMkLst>
        </pc:grpChg>
        <pc:grpChg chg="add mod">
          <ac:chgData name="Enric Mus Catala" userId="d65d4634-8e16-47e9-87ba-a549cc891999" providerId="ADAL" clId="{691A62D0-B4DF-4092-B847-DBF8356A7AF8}" dt="2022-12-21T18:28:17.954" v="3673" actId="555"/>
          <ac:grpSpMkLst>
            <pc:docMk/>
            <pc:sldMk cId="1622334049" sldId="292"/>
            <ac:grpSpMk id="37" creationId="{4043F089-CC53-4A9C-A3EF-C64EEA1F3297}"/>
          </ac:grpSpMkLst>
        </pc:grpChg>
        <pc:graphicFrameChg chg="mod">
          <ac:chgData name="Enric Mus Catala" userId="d65d4634-8e16-47e9-87ba-a549cc891999" providerId="ADAL" clId="{691A62D0-B4DF-4092-B847-DBF8356A7AF8}" dt="2022-12-21T18:15:38.701" v="3285"/>
          <ac:graphicFrameMkLst>
            <pc:docMk/>
            <pc:sldMk cId="1622334049" sldId="292"/>
            <ac:graphicFrameMk id="12" creationId="{F658D089-3C8A-4DB5-B385-1D8F29891C43}"/>
          </ac:graphicFrameMkLst>
        </pc:graphicFrameChg>
        <pc:picChg chg="add mod">
          <ac:chgData name="Enric Mus Catala" userId="d65d4634-8e16-47e9-87ba-a549cc891999" providerId="ADAL" clId="{691A62D0-B4DF-4092-B847-DBF8356A7AF8}" dt="2022-12-21T18:35:48.498" v="3943" actId="207"/>
          <ac:picMkLst>
            <pc:docMk/>
            <pc:sldMk cId="1622334049" sldId="292"/>
            <ac:picMk id="40" creationId="{646E7871-6D96-4016-B35F-556D48FACB33}"/>
          </ac:picMkLst>
        </pc:picChg>
        <pc:picChg chg="add del mod">
          <ac:chgData name="Enric Mus Catala" userId="d65d4634-8e16-47e9-87ba-a549cc891999" providerId="ADAL" clId="{691A62D0-B4DF-4092-B847-DBF8356A7AF8}" dt="2022-12-21T18:43:52.567" v="4100" actId="478"/>
          <ac:picMkLst>
            <pc:docMk/>
            <pc:sldMk cId="1622334049" sldId="292"/>
            <ac:picMk id="41" creationId="{1725A7A6-4D4C-4890-BB14-338D5DAF558B}"/>
          </ac:picMkLst>
        </pc:picChg>
        <pc:cxnChg chg="add mod">
          <ac:chgData name="Enric Mus Catala" userId="d65d4634-8e16-47e9-87ba-a549cc891999" providerId="ADAL" clId="{691A62D0-B4DF-4092-B847-DBF8356A7AF8}" dt="2022-12-21T23:09:54.808" v="6972" actId="14100"/>
          <ac:cxnSpMkLst>
            <pc:docMk/>
            <pc:sldMk cId="1622334049" sldId="292"/>
            <ac:cxnSpMk id="29" creationId="{F3D39700-C44D-47E6-874E-D479145A9730}"/>
          </ac:cxnSpMkLst>
        </pc:cxnChg>
      </pc:sldChg>
      <pc:sldChg chg="addSp delSp modSp add mod">
        <pc:chgData name="Enric Mus Catala" userId="d65d4634-8e16-47e9-87ba-a549cc891999" providerId="ADAL" clId="{691A62D0-B4DF-4092-B847-DBF8356A7AF8}" dt="2022-12-21T23:08:45.149" v="6354" actId="20577"/>
        <pc:sldMkLst>
          <pc:docMk/>
          <pc:sldMk cId="1953647900" sldId="293"/>
        </pc:sldMkLst>
        <pc:spChg chg="mod ord">
          <ac:chgData name="Enric Mus Catala" userId="d65d4634-8e16-47e9-87ba-a549cc891999" providerId="ADAL" clId="{691A62D0-B4DF-4092-B847-DBF8356A7AF8}" dt="2022-12-21T18:52:49.865" v="4417"/>
          <ac:spMkLst>
            <pc:docMk/>
            <pc:sldMk cId="1953647900" sldId="293"/>
            <ac:spMk id="2" creationId="{B8D6B1B9-77FC-433D-9851-1201CFDA3270}"/>
          </ac:spMkLst>
        </pc:spChg>
        <pc:spChg chg="add del mod modVis">
          <ac:chgData name="Enric Mus Catala" userId="d65d4634-8e16-47e9-87ba-a549cc891999" providerId="ADAL" clId="{691A62D0-B4DF-4092-B847-DBF8356A7AF8}" dt="2022-12-21T18:40:29.364" v="4024"/>
          <ac:spMkLst>
            <pc:docMk/>
            <pc:sldMk cId="1953647900" sldId="293"/>
            <ac:spMk id="3" creationId="{0B8D2E72-C785-455D-A6EC-E13D576E3A84}"/>
          </ac:spMkLst>
        </pc:spChg>
        <pc:spChg chg="add mod ord">
          <ac:chgData name="Enric Mus Catala" userId="d65d4634-8e16-47e9-87ba-a549cc891999" providerId="ADAL" clId="{691A62D0-B4DF-4092-B847-DBF8356A7AF8}" dt="2022-12-21T23:08:24.904" v="6344" actId="20577"/>
          <ac:spMkLst>
            <pc:docMk/>
            <pc:sldMk cId="1953647900" sldId="293"/>
            <ac:spMk id="6" creationId="{703AE5F8-829F-4EBA-85B0-E3ECE6FFA70D}"/>
          </ac:spMkLst>
        </pc:spChg>
        <pc:spChg chg="add del mod ord">
          <ac:chgData name="Enric Mus Catala" userId="d65d4634-8e16-47e9-87ba-a549cc891999" providerId="ADAL" clId="{691A62D0-B4DF-4092-B847-DBF8356A7AF8}" dt="2022-12-21T18:54:27.706" v="4465"/>
          <ac:spMkLst>
            <pc:docMk/>
            <pc:sldMk cId="1953647900" sldId="293"/>
            <ac:spMk id="7" creationId="{5ADB1975-1B46-4753-BE67-D365F32BCEDC}"/>
          </ac:spMkLst>
        </pc:spChg>
        <pc:spChg chg="add mod ord">
          <ac:chgData name="Enric Mus Catala" userId="d65d4634-8e16-47e9-87ba-a549cc891999" providerId="ADAL" clId="{691A62D0-B4DF-4092-B847-DBF8356A7AF8}" dt="2022-12-21T18:52:15.084" v="4403" actId="164"/>
          <ac:spMkLst>
            <pc:docMk/>
            <pc:sldMk cId="1953647900" sldId="293"/>
            <ac:spMk id="8" creationId="{61D90C76-4C7E-4D58-B987-CAD0C1E1B8C4}"/>
          </ac:spMkLst>
        </pc:spChg>
        <pc:spChg chg="add mod ord">
          <ac:chgData name="Enric Mus Catala" userId="d65d4634-8e16-47e9-87ba-a549cc891999" providerId="ADAL" clId="{691A62D0-B4DF-4092-B847-DBF8356A7AF8}" dt="2022-12-21T18:52:15.084" v="4403" actId="164"/>
          <ac:spMkLst>
            <pc:docMk/>
            <pc:sldMk cId="1953647900" sldId="293"/>
            <ac:spMk id="9" creationId="{ADF2DA64-5090-4CB2-8A5C-D5C759BA28B7}"/>
          </ac:spMkLst>
        </pc:spChg>
        <pc:spChg chg="del mod ord">
          <ac:chgData name="Enric Mus Catala" userId="d65d4634-8e16-47e9-87ba-a549cc891999" providerId="ADAL" clId="{691A62D0-B4DF-4092-B847-DBF8356A7AF8}" dt="2022-12-21T18:54:59.096" v="4476" actId="478"/>
          <ac:spMkLst>
            <pc:docMk/>
            <pc:sldMk cId="1953647900" sldId="293"/>
            <ac:spMk id="10" creationId="{523F2142-23CD-4ACA-BB2C-A54FDCFDCA25}"/>
          </ac:spMkLst>
        </pc:spChg>
        <pc:spChg chg="mod ord">
          <ac:chgData name="Enric Mus Catala" userId="d65d4634-8e16-47e9-87ba-a549cc891999" providerId="ADAL" clId="{691A62D0-B4DF-4092-B847-DBF8356A7AF8}" dt="2022-12-21T18:52:49.865" v="4421"/>
          <ac:spMkLst>
            <pc:docMk/>
            <pc:sldMk cId="1953647900" sldId="293"/>
            <ac:spMk id="11" creationId="{1AEC9149-F5C3-45FA-B09D-CF6B7D2456CD}"/>
          </ac:spMkLst>
        </pc:spChg>
        <pc:spChg chg="add mod ord">
          <ac:chgData name="Enric Mus Catala" userId="d65d4634-8e16-47e9-87ba-a549cc891999" providerId="ADAL" clId="{691A62D0-B4DF-4092-B847-DBF8356A7AF8}" dt="2022-12-21T18:52:15.084" v="4403" actId="164"/>
          <ac:spMkLst>
            <pc:docMk/>
            <pc:sldMk cId="1953647900" sldId="293"/>
            <ac:spMk id="26" creationId="{B36C12D5-708B-4E6E-AC2C-830876D69765}"/>
          </ac:spMkLst>
        </pc:spChg>
        <pc:spChg chg="add mod ord">
          <ac:chgData name="Enric Mus Catala" userId="d65d4634-8e16-47e9-87ba-a549cc891999" providerId="ADAL" clId="{691A62D0-B4DF-4092-B847-DBF8356A7AF8}" dt="2022-12-21T18:52:15.084" v="4403" actId="164"/>
          <ac:spMkLst>
            <pc:docMk/>
            <pc:sldMk cId="1953647900" sldId="293"/>
            <ac:spMk id="27" creationId="{92EDE3D0-4928-40B2-81C4-2340526388F2}"/>
          </ac:spMkLst>
        </pc:spChg>
        <pc:spChg chg="add mod ord">
          <ac:chgData name="Enric Mus Catala" userId="d65d4634-8e16-47e9-87ba-a549cc891999" providerId="ADAL" clId="{691A62D0-B4DF-4092-B847-DBF8356A7AF8}" dt="2022-12-21T18:52:15.084" v="4403" actId="164"/>
          <ac:spMkLst>
            <pc:docMk/>
            <pc:sldMk cId="1953647900" sldId="293"/>
            <ac:spMk id="29" creationId="{CF749792-7757-440C-969D-460EE7D0A98B}"/>
          </ac:spMkLst>
        </pc:spChg>
        <pc:spChg chg="mod ord">
          <ac:chgData name="Enric Mus Catala" userId="d65d4634-8e16-47e9-87ba-a549cc891999" providerId="ADAL" clId="{691A62D0-B4DF-4092-B847-DBF8356A7AF8}" dt="2022-12-21T18:52:49.866" v="4423"/>
          <ac:spMkLst>
            <pc:docMk/>
            <pc:sldMk cId="1953647900" sldId="293"/>
            <ac:spMk id="31" creationId="{C6D1CCEC-534A-4991-A816-2E51476A7F99}"/>
          </ac:spMkLst>
        </pc:spChg>
        <pc:spChg chg="add mod">
          <ac:chgData name="Enric Mus Catala" userId="d65d4634-8e16-47e9-87ba-a549cc891999" providerId="ADAL" clId="{691A62D0-B4DF-4092-B847-DBF8356A7AF8}" dt="2022-12-21T18:54:14.366" v="4462" actId="12789"/>
          <ac:spMkLst>
            <pc:docMk/>
            <pc:sldMk cId="1953647900" sldId="293"/>
            <ac:spMk id="33" creationId="{B9810218-5A6A-4CAF-887D-F8E7CBFE2674}"/>
          </ac:spMkLst>
        </pc:spChg>
        <pc:spChg chg="mod ord">
          <ac:chgData name="Enric Mus Catala" userId="d65d4634-8e16-47e9-87ba-a549cc891999" providerId="ADAL" clId="{691A62D0-B4DF-4092-B847-DBF8356A7AF8}" dt="2022-12-21T18:52:49.866" v="4425"/>
          <ac:spMkLst>
            <pc:docMk/>
            <pc:sldMk cId="1953647900" sldId="293"/>
            <ac:spMk id="34" creationId="{25F1FB64-AF7F-42EB-8AA9-58E989376F01}"/>
          </ac:spMkLst>
        </pc:spChg>
        <pc:spChg chg="mod ord topLvl">
          <ac:chgData name="Enric Mus Catala" userId="d65d4634-8e16-47e9-87ba-a549cc891999" providerId="ADAL" clId="{691A62D0-B4DF-4092-B847-DBF8356A7AF8}" dt="2022-12-21T23:08:45.149" v="6354" actId="20577"/>
          <ac:spMkLst>
            <pc:docMk/>
            <pc:sldMk cId="1953647900" sldId="293"/>
            <ac:spMk id="38" creationId="{9F53DD7D-1D29-46E1-96C9-2E0ABB67F6A8}"/>
          </ac:spMkLst>
        </pc:spChg>
        <pc:spChg chg="mod topLvl">
          <ac:chgData name="Enric Mus Catala" userId="d65d4634-8e16-47e9-87ba-a549cc891999" providerId="ADAL" clId="{691A62D0-B4DF-4092-B847-DBF8356A7AF8}" dt="2022-12-21T18:52:46.388" v="4412" actId="164"/>
          <ac:spMkLst>
            <pc:docMk/>
            <pc:sldMk cId="1953647900" sldId="293"/>
            <ac:spMk id="39" creationId="{70E62E62-F12C-4B89-87C1-B34BDE815CC3}"/>
          </ac:spMkLst>
        </pc:spChg>
        <pc:spChg chg="mod topLvl">
          <ac:chgData name="Enric Mus Catala" userId="d65d4634-8e16-47e9-87ba-a549cc891999" providerId="ADAL" clId="{691A62D0-B4DF-4092-B847-DBF8356A7AF8}" dt="2022-12-21T18:52:46.388" v="4412" actId="164"/>
          <ac:spMkLst>
            <pc:docMk/>
            <pc:sldMk cId="1953647900" sldId="293"/>
            <ac:spMk id="40" creationId="{C127C3CF-E9E9-446B-AF67-B4B71AC4E1E2}"/>
          </ac:spMkLst>
        </pc:spChg>
        <pc:spChg chg="del">
          <ac:chgData name="Enric Mus Catala" userId="d65d4634-8e16-47e9-87ba-a549cc891999" providerId="ADAL" clId="{691A62D0-B4DF-4092-B847-DBF8356A7AF8}" dt="2022-12-21T18:41:24.457" v="4088" actId="478"/>
          <ac:spMkLst>
            <pc:docMk/>
            <pc:sldMk cId="1953647900" sldId="293"/>
            <ac:spMk id="41" creationId="{2231F4F5-1B85-40A6-A46D-E76F90DC4049}"/>
          </ac:spMkLst>
        </pc:spChg>
        <pc:spChg chg="mod topLvl">
          <ac:chgData name="Enric Mus Catala" userId="d65d4634-8e16-47e9-87ba-a549cc891999" providerId="ADAL" clId="{691A62D0-B4DF-4092-B847-DBF8356A7AF8}" dt="2022-12-21T18:52:46.388" v="4412" actId="164"/>
          <ac:spMkLst>
            <pc:docMk/>
            <pc:sldMk cId="1953647900" sldId="293"/>
            <ac:spMk id="42" creationId="{E8766D47-DC57-42E1-A5BA-BE116FC45485}"/>
          </ac:spMkLst>
        </pc:spChg>
        <pc:spChg chg="mod topLvl">
          <ac:chgData name="Enric Mus Catala" userId="d65d4634-8e16-47e9-87ba-a549cc891999" providerId="ADAL" clId="{691A62D0-B4DF-4092-B847-DBF8356A7AF8}" dt="2022-12-21T18:52:46.388" v="4412" actId="164"/>
          <ac:spMkLst>
            <pc:docMk/>
            <pc:sldMk cId="1953647900" sldId="293"/>
            <ac:spMk id="43" creationId="{17A58248-C5D0-41F3-884A-4A6140E1822D}"/>
          </ac:spMkLst>
        </pc:spChg>
        <pc:spChg chg="del">
          <ac:chgData name="Enric Mus Catala" userId="d65d4634-8e16-47e9-87ba-a549cc891999" providerId="ADAL" clId="{691A62D0-B4DF-4092-B847-DBF8356A7AF8}" dt="2022-12-21T18:41:27.149" v="4090" actId="478"/>
          <ac:spMkLst>
            <pc:docMk/>
            <pc:sldMk cId="1953647900" sldId="293"/>
            <ac:spMk id="44" creationId="{B3C117E6-91F2-4096-9FA7-977E08D4E8D4}"/>
          </ac:spMkLst>
        </pc:spChg>
        <pc:spChg chg="mod topLvl">
          <ac:chgData name="Enric Mus Catala" userId="d65d4634-8e16-47e9-87ba-a549cc891999" providerId="ADAL" clId="{691A62D0-B4DF-4092-B847-DBF8356A7AF8}" dt="2022-12-21T18:52:46.388" v="4412" actId="164"/>
          <ac:spMkLst>
            <pc:docMk/>
            <pc:sldMk cId="1953647900" sldId="293"/>
            <ac:spMk id="45" creationId="{39CC7D54-6166-488B-9484-0ED267015EC0}"/>
          </ac:spMkLst>
        </pc:spChg>
        <pc:grpChg chg="add mod ord">
          <ac:chgData name="Enric Mus Catala" userId="d65d4634-8e16-47e9-87ba-a549cc891999" providerId="ADAL" clId="{691A62D0-B4DF-4092-B847-DBF8356A7AF8}" dt="2022-12-21T18:54:14.366" v="4462" actId="12789"/>
          <ac:grpSpMkLst>
            <pc:docMk/>
            <pc:sldMk cId="1953647900" sldId="293"/>
            <ac:grpSpMk id="18" creationId="{3825CD2A-D2AA-4C89-A0F3-0AB51BC8A6B3}"/>
          </ac:grpSpMkLst>
        </pc:grpChg>
        <pc:grpChg chg="add mod ord">
          <ac:chgData name="Enric Mus Catala" userId="d65d4634-8e16-47e9-87ba-a549cc891999" providerId="ADAL" clId="{691A62D0-B4DF-4092-B847-DBF8356A7AF8}" dt="2022-12-21T18:53:23.370" v="4454" actId="164"/>
          <ac:grpSpMkLst>
            <pc:docMk/>
            <pc:sldMk cId="1953647900" sldId="293"/>
            <ac:grpSpMk id="21" creationId="{10D4E189-E97C-4BE9-B376-6BE1C04AF122}"/>
          </ac:grpSpMkLst>
        </pc:grpChg>
        <pc:grpChg chg="add mod">
          <ac:chgData name="Enric Mus Catala" userId="d65d4634-8e16-47e9-87ba-a549cc891999" providerId="ADAL" clId="{691A62D0-B4DF-4092-B847-DBF8356A7AF8}" dt="2022-12-21T18:54:14.366" v="4462" actId="12789"/>
          <ac:grpSpMkLst>
            <pc:docMk/>
            <pc:sldMk cId="1953647900" sldId="293"/>
            <ac:grpSpMk id="22" creationId="{60E14A56-AC66-4263-900B-E50043D56AFC}"/>
          </ac:grpSpMkLst>
        </pc:grpChg>
        <pc:grpChg chg="del">
          <ac:chgData name="Enric Mus Catala" userId="d65d4634-8e16-47e9-87ba-a549cc891999" providerId="ADAL" clId="{691A62D0-B4DF-4092-B847-DBF8356A7AF8}" dt="2022-12-21T18:41:24.926" v="4089" actId="478"/>
          <ac:grpSpMkLst>
            <pc:docMk/>
            <pc:sldMk cId="1953647900" sldId="293"/>
            <ac:grpSpMk id="24" creationId="{8AAF7F47-4D1C-4A3F-BCA8-161FAA3151B8}"/>
          </ac:grpSpMkLst>
        </pc:grpChg>
        <pc:grpChg chg="del">
          <ac:chgData name="Enric Mus Catala" userId="d65d4634-8e16-47e9-87ba-a549cc891999" providerId="ADAL" clId="{691A62D0-B4DF-4092-B847-DBF8356A7AF8}" dt="2022-12-21T18:41:23.571" v="4087" actId="478"/>
          <ac:grpSpMkLst>
            <pc:docMk/>
            <pc:sldMk cId="1953647900" sldId="293"/>
            <ac:grpSpMk id="25" creationId="{5A3D1780-7664-4E79-B163-F3985E10C722}"/>
          </ac:grpSpMkLst>
        </pc:grpChg>
        <pc:grpChg chg="add del mod">
          <ac:chgData name="Enric Mus Catala" userId="d65d4634-8e16-47e9-87ba-a549cc891999" providerId="ADAL" clId="{691A62D0-B4DF-4092-B847-DBF8356A7AF8}" dt="2022-12-21T18:52:39.707" v="4411" actId="165"/>
          <ac:grpSpMkLst>
            <pc:docMk/>
            <pc:sldMk cId="1953647900" sldId="293"/>
            <ac:grpSpMk id="35" creationId="{AB389F96-987E-492B-B4DA-C44911F03924}"/>
          </ac:grpSpMkLst>
        </pc:grpChg>
        <pc:graphicFrameChg chg="mod">
          <ac:chgData name="Enric Mus Catala" userId="d65d4634-8e16-47e9-87ba-a549cc891999" providerId="ADAL" clId="{691A62D0-B4DF-4092-B847-DBF8356A7AF8}" dt="2022-12-21T18:52:49.872" v="4438"/>
          <ac:graphicFrameMkLst>
            <pc:docMk/>
            <pc:sldMk cId="1953647900" sldId="293"/>
            <ac:graphicFrameMk id="12" creationId="{F658D089-3C8A-4DB5-B385-1D8F29891C43}"/>
          </ac:graphicFrameMkLst>
        </pc:graphicFrameChg>
        <pc:picChg chg="add mod ord">
          <ac:chgData name="Enric Mus Catala" userId="d65d4634-8e16-47e9-87ba-a549cc891999" providerId="ADAL" clId="{691A62D0-B4DF-4092-B847-DBF8356A7AF8}" dt="2022-12-21T18:54:47.031" v="4475" actId="14100"/>
          <ac:picMkLst>
            <pc:docMk/>
            <pc:sldMk cId="1953647900" sldId="293"/>
            <ac:picMk id="5" creationId="{5B9F63FD-EDD3-4A31-835B-4806A8B12B1A}"/>
          </ac:picMkLst>
        </pc:picChg>
        <pc:picChg chg="add mod ord">
          <ac:chgData name="Enric Mus Catala" userId="d65d4634-8e16-47e9-87ba-a549cc891999" providerId="ADAL" clId="{691A62D0-B4DF-4092-B847-DBF8356A7AF8}" dt="2022-12-21T18:52:49.866" v="4429"/>
          <ac:picMkLst>
            <pc:docMk/>
            <pc:sldMk cId="1953647900" sldId="293"/>
            <ac:picMk id="19" creationId="{9E85B7F0-8B6D-4ED1-9341-1F9B79C7CA4B}"/>
          </ac:picMkLst>
        </pc:picChg>
        <pc:cxnChg chg="add mod ord">
          <ac:chgData name="Enric Mus Catala" userId="d65d4634-8e16-47e9-87ba-a549cc891999" providerId="ADAL" clId="{691A62D0-B4DF-4092-B847-DBF8356A7AF8}" dt="2022-12-21T18:52:15.084" v="4403" actId="164"/>
          <ac:cxnSpMkLst>
            <pc:docMk/>
            <pc:sldMk cId="1953647900" sldId="293"/>
            <ac:cxnSpMk id="14" creationId="{558B1F1F-A2F5-4EBD-9FFD-542864ACA876}"/>
          </ac:cxnSpMkLst>
        </pc:cxnChg>
        <pc:cxnChg chg="add del mod">
          <ac:chgData name="Enric Mus Catala" userId="d65d4634-8e16-47e9-87ba-a549cc891999" providerId="ADAL" clId="{691A62D0-B4DF-4092-B847-DBF8356A7AF8}" dt="2022-12-21T18:50:01.677" v="4202" actId="478"/>
          <ac:cxnSpMkLst>
            <pc:docMk/>
            <pc:sldMk cId="1953647900" sldId="293"/>
            <ac:cxnSpMk id="30" creationId="{5A3D0992-4688-45DA-A7F0-962A3272B104}"/>
          </ac:cxnSpMkLst>
        </pc:cxnChg>
        <pc:cxnChg chg="add mod ord">
          <ac:chgData name="Enric Mus Catala" userId="d65d4634-8e16-47e9-87ba-a549cc891999" providerId="ADAL" clId="{691A62D0-B4DF-4092-B847-DBF8356A7AF8}" dt="2022-12-21T18:52:15.084" v="4403" actId="164"/>
          <ac:cxnSpMkLst>
            <pc:docMk/>
            <pc:sldMk cId="1953647900" sldId="293"/>
            <ac:cxnSpMk id="32" creationId="{A10B52F5-3383-4E73-9324-EE969683AF8C}"/>
          </ac:cxnSpMkLst>
        </pc:cxnChg>
        <pc:cxnChg chg="mod topLvl">
          <ac:chgData name="Enric Mus Catala" userId="d65d4634-8e16-47e9-87ba-a549cc891999" providerId="ADAL" clId="{691A62D0-B4DF-4092-B847-DBF8356A7AF8}" dt="2022-12-21T18:52:46.388" v="4412" actId="164"/>
          <ac:cxnSpMkLst>
            <pc:docMk/>
            <pc:sldMk cId="1953647900" sldId="293"/>
            <ac:cxnSpMk id="36" creationId="{BEC1DC43-31B5-42F7-BF00-54F5F1E17358}"/>
          </ac:cxnSpMkLst>
        </pc:cxnChg>
        <pc:cxnChg chg="mod topLvl">
          <ac:chgData name="Enric Mus Catala" userId="d65d4634-8e16-47e9-87ba-a549cc891999" providerId="ADAL" clId="{691A62D0-B4DF-4092-B847-DBF8356A7AF8}" dt="2022-12-21T18:52:46.388" v="4412" actId="164"/>
          <ac:cxnSpMkLst>
            <pc:docMk/>
            <pc:sldMk cId="1953647900" sldId="293"/>
            <ac:cxnSpMk id="37" creationId="{61C87A7C-1635-4B18-A51B-285EDBF7D645}"/>
          </ac:cxnSpMkLst>
        </pc:cxnChg>
      </pc:sldChg>
      <pc:sldChg chg="addSp delSp modSp add mod">
        <pc:chgData name="Enric Mus Catala" userId="d65d4634-8e16-47e9-87ba-a549cc891999" providerId="ADAL" clId="{691A62D0-B4DF-4092-B847-DBF8356A7AF8}" dt="2022-12-21T23:27:33.232" v="7764" actId="20577"/>
        <pc:sldMkLst>
          <pc:docMk/>
          <pc:sldMk cId="3936574562" sldId="294"/>
        </pc:sldMkLst>
        <pc:spChg chg="mod">
          <ac:chgData name="Enric Mus Catala" userId="d65d4634-8e16-47e9-87ba-a549cc891999" providerId="ADAL" clId="{691A62D0-B4DF-4092-B847-DBF8356A7AF8}" dt="2022-12-21T23:27:33.232" v="7764" actId="20577"/>
          <ac:spMkLst>
            <pc:docMk/>
            <pc:sldMk cId="3936574562" sldId="294"/>
            <ac:spMk id="4" creationId="{D51A6D85-3837-435F-A342-5A3F98172B12}"/>
          </ac:spMkLst>
        </pc:spChg>
        <pc:spChg chg="del">
          <ac:chgData name="Enric Mus Catala" userId="d65d4634-8e16-47e9-87ba-a549cc891999" providerId="ADAL" clId="{691A62D0-B4DF-4092-B847-DBF8356A7AF8}" dt="2022-12-21T19:00:30.464" v="4534" actId="478"/>
          <ac:spMkLst>
            <pc:docMk/>
            <pc:sldMk cId="3936574562" sldId="294"/>
            <ac:spMk id="6" creationId="{CCC7D267-DCEC-4B85-81EC-31ABD1F5384C}"/>
          </ac:spMkLst>
        </pc:spChg>
        <pc:graphicFrameChg chg="mod">
          <ac:chgData name="Enric Mus Catala" userId="d65d4634-8e16-47e9-87ba-a549cc891999" providerId="ADAL" clId="{691A62D0-B4DF-4092-B847-DBF8356A7AF8}" dt="2022-12-21T19:00:30.964" v="4537"/>
          <ac:graphicFrameMkLst>
            <pc:docMk/>
            <pc:sldMk cId="3936574562" sldId="294"/>
            <ac:graphicFrameMk id="5" creationId="{051E33D7-5EE7-4E43-95B4-F82EFB01A789}"/>
          </ac:graphicFrameMkLst>
        </pc:graphicFrameChg>
        <pc:picChg chg="del mod">
          <ac:chgData name="Enric Mus Catala" userId="d65d4634-8e16-47e9-87ba-a549cc891999" providerId="ADAL" clId="{691A62D0-B4DF-4092-B847-DBF8356A7AF8}" dt="2022-12-21T19:00:27.557" v="4533" actId="478"/>
          <ac:picMkLst>
            <pc:docMk/>
            <pc:sldMk cId="3936574562" sldId="294"/>
            <ac:picMk id="3" creationId="{3150ADF4-BF12-42C9-A378-F03025EF4B94}"/>
          </ac:picMkLst>
        </pc:picChg>
        <pc:picChg chg="add del mod modCrop">
          <ac:chgData name="Enric Mus Catala" userId="d65d4634-8e16-47e9-87ba-a549cc891999" providerId="ADAL" clId="{691A62D0-B4DF-4092-B847-DBF8356A7AF8}" dt="2022-12-21T19:00:25.823" v="4532" actId="478"/>
          <ac:picMkLst>
            <pc:docMk/>
            <pc:sldMk cId="3936574562" sldId="294"/>
            <ac:picMk id="7" creationId="{17B58CD9-6E30-4FF8-9BBD-90911EA6E734}"/>
          </ac:picMkLst>
        </pc:picChg>
        <pc:picChg chg="add mod modCrop">
          <ac:chgData name="Enric Mus Catala" userId="d65d4634-8e16-47e9-87ba-a549cc891999" providerId="ADAL" clId="{691A62D0-B4DF-4092-B847-DBF8356A7AF8}" dt="2022-12-21T19:00:34.614" v="4539" actId="554"/>
          <ac:picMkLst>
            <pc:docMk/>
            <pc:sldMk cId="3936574562" sldId="294"/>
            <ac:picMk id="9" creationId="{42B02CF1-CA98-4D0B-8FA3-A61D5F7936F9}"/>
          </ac:picMkLst>
        </pc:picChg>
      </pc:sldChg>
      <pc:sldChg chg="modSp add mod">
        <pc:chgData name="Enric Mus Catala" userId="d65d4634-8e16-47e9-87ba-a549cc891999" providerId="ADAL" clId="{691A62D0-B4DF-4092-B847-DBF8356A7AF8}" dt="2022-12-21T19:21:28.987" v="4540" actId="18131"/>
        <pc:sldMkLst>
          <pc:docMk/>
          <pc:sldMk cId="4229812181" sldId="295"/>
        </pc:sldMkLst>
        <pc:picChg chg="mod modCrop">
          <ac:chgData name="Enric Mus Catala" userId="d65d4634-8e16-47e9-87ba-a549cc891999" providerId="ADAL" clId="{691A62D0-B4DF-4092-B847-DBF8356A7AF8}" dt="2022-12-21T19:21:28.987" v="4540" actId="18131"/>
          <ac:picMkLst>
            <pc:docMk/>
            <pc:sldMk cId="4229812181" sldId="295"/>
            <ac:picMk id="7" creationId="{17B58CD9-6E30-4FF8-9BBD-90911EA6E734}"/>
          </ac:picMkLst>
        </pc:picChg>
      </pc:sldChg>
      <pc:sldChg chg="addSp delSp modSp add mod modNotesTx">
        <pc:chgData name="Enric Mus Catala" userId="d65d4634-8e16-47e9-87ba-a549cc891999" providerId="ADAL" clId="{691A62D0-B4DF-4092-B847-DBF8356A7AF8}" dt="2022-12-21T23:06:18.804" v="6342" actId="20577"/>
        <pc:sldMkLst>
          <pc:docMk/>
          <pc:sldMk cId="2413557942" sldId="296"/>
        </pc:sldMkLst>
        <pc:spChg chg="mod ord">
          <ac:chgData name="Enric Mus Catala" userId="d65d4634-8e16-47e9-87ba-a549cc891999" providerId="ADAL" clId="{691A62D0-B4DF-4092-B847-DBF8356A7AF8}" dt="2022-12-21T20:38:23.018" v="5336" actId="948"/>
          <ac:spMkLst>
            <pc:docMk/>
            <pc:sldMk cId="2413557942" sldId="296"/>
            <ac:spMk id="2" creationId="{B8D6B1B9-77FC-433D-9851-1201CFDA3270}"/>
          </ac:spMkLst>
        </pc:spChg>
        <pc:spChg chg="add del mod modVis">
          <ac:chgData name="Enric Mus Catala" userId="d65d4634-8e16-47e9-87ba-a549cc891999" providerId="ADAL" clId="{691A62D0-B4DF-4092-B847-DBF8356A7AF8}" dt="2022-12-21T20:23:55.537" v="4670"/>
          <ac:spMkLst>
            <pc:docMk/>
            <pc:sldMk cId="2413557942" sldId="296"/>
            <ac:spMk id="3" creationId="{0A4FC492-ADB6-4C44-9C06-72BACE7C7832}"/>
          </ac:spMkLst>
        </pc:spChg>
        <pc:spChg chg="add del mod modVis">
          <ac:chgData name="Enric Mus Catala" userId="d65d4634-8e16-47e9-87ba-a549cc891999" providerId="ADAL" clId="{691A62D0-B4DF-4092-B847-DBF8356A7AF8}" dt="2022-12-21T20:23:57.021" v="4718"/>
          <ac:spMkLst>
            <pc:docMk/>
            <pc:sldMk cId="2413557942" sldId="296"/>
            <ac:spMk id="4" creationId="{8350B827-8B98-489F-B879-CD74B62B7525}"/>
          </ac:spMkLst>
        </pc:spChg>
        <pc:spChg chg="add del mod modVis">
          <ac:chgData name="Enric Mus Catala" userId="d65d4634-8e16-47e9-87ba-a549cc891999" providerId="ADAL" clId="{691A62D0-B4DF-4092-B847-DBF8356A7AF8}" dt="2022-12-21T20:23:58.175" v="4763"/>
          <ac:spMkLst>
            <pc:docMk/>
            <pc:sldMk cId="2413557942" sldId="296"/>
            <ac:spMk id="7" creationId="{352A09EB-E52B-46FD-993C-039879289803}"/>
          </ac:spMkLst>
        </pc:spChg>
        <pc:spChg chg="add mod ord">
          <ac:chgData name="Enric Mus Catala" userId="d65d4634-8e16-47e9-87ba-a549cc891999" providerId="ADAL" clId="{691A62D0-B4DF-4092-B847-DBF8356A7AF8}" dt="2022-12-21T20:34:26.991" v="5161" actId="164"/>
          <ac:spMkLst>
            <pc:docMk/>
            <pc:sldMk cId="2413557942" sldId="296"/>
            <ac:spMk id="10" creationId="{41F94566-59B8-4F06-BDDC-FE8BC8175F41}"/>
          </ac:spMkLst>
        </pc:spChg>
        <pc:spChg chg="mod ord">
          <ac:chgData name="Enric Mus Catala" userId="d65d4634-8e16-47e9-87ba-a549cc891999" providerId="ADAL" clId="{691A62D0-B4DF-4092-B847-DBF8356A7AF8}" dt="2022-12-21T20:28:33.697" v="4976"/>
          <ac:spMkLst>
            <pc:docMk/>
            <pc:sldMk cId="2413557942" sldId="296"/>
            <ac:spMk id="11" creationId="{1AEC9149-F5C3-45FA-B09D-CF6B7D2456CD}"/>
          </ac:spMkLst>
        </pc:spChg>
        <pc:spChg chg="add mod ord">
          <ac:chgData name="Enric Mus Catala" userId="d65d4634-8e16-47e9-87ba-a549cc891999" providerId="ADAL" clId="{691A62D0-B4DF-4092-B847-DBF8356A7AF8}" dt="2022-12-21T20:29:48.625" v="5092" actId="207"/>
          <ac:spMkLst>
            <pc:docMk/>
            <pc:sldMk cId="2413557942" sldId="296"/>
            <ac:spMk id="13" creationId="{BC026C30-370D-422C-B358-C213412E37E6}"/>
          </ac:spMkLst>
        </pc:spChg>
        <pc:spChg chg="add mod ord">
          <ac:chgData name="Enric Mus Catala" userId="d65d4634-8e16-47e9-87ba-a549cc891999" providerId="ADAL" clId="{691A62D0-B4DF-4092-B847-DBF8356A7AF8}" dt="2022-12-21T20:28:33.681" v="4966"/>
          <ac:spMkLst>
            <pc:docMk/>
            <pc:sldMk cId="2413557942" sldId="296"/>
            <ac:spMk id="15" creationId="{F617FC84-950B-4E5B-B049-9F0611CCBAC8}"/>
          </ac:spMkLst>
        </pc:spChg>
        <pc:spChg chg="add mod">
          <ac:chgData name="Enric Mus Catala" userId="d65d4634-8e16-47e9-87ba-a549cc891999" providerId="ADAL" clId="{691A62D0-B4DF-4092-B847-DBF8356A7AF8}" dt="2022-12-21T23:05:45.662" v="6331" actId="20577"/>
          <ac:spMkLst>
            <pc:docMk/>
            <pc:sldMk cId="2413557942" sldId="296"/>
            <ac:spMk id="16" creationId="{A1ECFBC0-7CA0-472C-9AF4-B4931C27B00C}"/>
          </ac:spMkLst>
        </pc:spChg>
        <pc:spChg chg="del">
          <ac:chgData name="Enric Mus Catala" userId="d65d4634-8e16-47e9-87ba-a549cc891999" providerId="ADAL" clId="{691A62D0-B4DF-4092-B847-DBF8356A7AF8}" dt="2022-12-21T20:13:32.171" v="4542" actId="478"/>
          <ac:spMkLst>
            <pc:docMk/>
            <pc:sldMk cId="2413557942" sldId="296"/>
            <ac:spMk id="31" creationId="{C6D1CCEC-534A-4991-A816-2E51476A7F99}"/>
          </ac:spMkLst>
        </pc:spChg>
        <pc:spChg chg="del">
          <ac:chgData name="Enric Mus Catala" userId="d65d4634-8e16-47e9-87ba-a549cc891999" providerId="ADAL" clId="{691A62D0-B4DF-4092-B847-DBF8356A7AF8}" dt="2022-12-21T20:13:32.171" v="4542" actId="478"/>
          <ac:spMkLst>
            <pc:docMk/>
            <pc:sldMk cId="2413557942" sldId="296"/>
            <ac:spMk id="33" creationId="{B9810218-5A6A-4CAF-887D-F8E7CBFE2674}"/>
          </ac:spMkLst>
        </pc:spChg>
        <pc:spChg chg="del">
          <ac:chgData name="Enric Mus Catala" userId="d65d4634-8e16-47e9-87ba-a549cc891999" providerId="ADAL" clId="{691A62D0-B4DF-4092-B847-DBF8356A7AF8}" dt="2022-12-21T20:13:32.171" v="4542" actId="478"/>
          <ac:spMkLst>
            <pc:docMk/>
            <pc:sldMk cId="2413557942" sldId="296"/>
            <ac:spMk id="34" creationId="{25F1FB64-AF7F-42EB-8AA9-58E989376F01}"/>
          </ac:spMkLst>
        </pc:spChg>
        <pc:spChg chg="add mod ord">
          <ac:chgData name="Enric Mus Catala" userId="d65d4634-8e16-47e9-87ba-a549cc891999" providerId="ADAL" clId="{691A62D0-B4DF-4092-B847-DBF8356A7AF8}" dt="2022-12-21T20:34:29.663" v="5162" actId="164"/>
          <ac:spMkLst>
            <pc:docMk/>
            <pc:sldMk cId="2413557942" sldId="296"/>
            <ac:spMk id="35" creationId="{28CA16BA-C1F9-4B9B-8350-8F7E2F02D3AB}"/>
          </ac:spMkLst>
        </pc:spChg>
        <pc:spChg chg="add mod ord">
          <ac:chgData name="Enric Mus Catala" userId="d65d4634-8e16-47e9-87ba-a549cc891999" providerId="ADAL" clId="{691A62D0-B4DF-4092-B847-DBF8356A7AF8}" dt="2022-12-21T20:29:48.625" v="5092" actId="207"/>
          <ac:spMkLst>
            <pc:docMk/>
            <pc:sldMk cId="2413557942" sldId="296"/>
            <ac:spMk id="41" creationId="{99367061-A2E7-406D-80E8-DA7268C418EE}"/>
          </ac:spMkLst>
        </pc:spChg>
        <pc:spChg chg="add mod ord">
          <ac:chgData name="Enric Mus Catala" userId="d65d4634-8e16-47e9-87ba-a549cc891999" providerId="ADAL" clId="{691A62D0-B4DF-4092-B847-DBF8356A7AF8}" dt="2022-12-21T20:32:15.330" v="5134" actId="20577"/>
          <ac:spMkLst>
            <pc:docMk/>
            <pc:sldMk cId="2413557942" sldId="296"/>
            <ac:spMk id="44" creationId="{0168D469-DDFF-4B0C-91A0-D3BA7D9741F7}"/>
          </ac:spMkLst>
        </pc:spChg>
        <pc:spChg chg="add mod ord">
          <ac:chgData name="Enric Mus Catala" userId="d65d4634-8e16-47e9-87ba-a549cc891999" providerId="ADAL" clId="{691A62D0-B4DF-4092-B847-DBF8356A7AF8}" dt="2022-12-21T20:35:01.411" v="5214" actId="207"/>
          <ac:spMkLst>
            <pc:docMk/>
            <pc:sldMk cId="2413557942" sldId="296"/>
            <ac:spMk id="46" creationId="{10E1F089-367D-4757-B8FF-A63270A59E69}"/>
          </ac:spMkLst>
        </pc:spChg>
        <pc:spChg chg="add mod ord">
          <ac:chgData name="Enric Mus Catala" userId="d65d4634-8e16-47e9-87ba-a549cc891999" providerId="ADAL" clId="{691A62D0-B4DF-4092-B847-DBF8356A7AF8}" dt="2022-12-21T20:35:09.288" v="5260" actId="207"/>
          <ac:spMkLst>
            <pc:docMk/>
            <pc:sldMk cId="2413557942" sldId="296"/>
            <ac:spMk id="47" creationId="{37AA64E3-955D-4D0E-9931-C2749FA69F65}"/>
          </ac:spMkLst>
        </pc:spChg>
        <pc:spChg chg="add mod">
          <ac:chgData name="Enric Mus Catala" userId="d65d4634-8e16-47e9-87ba-a549cc891999" providerId="ADAL" clId="{691A62D0-B4DF-4092-B847-DBF8356A7AF8}" dt="2022-12-21T23:06:00.269" v="6336" actId="20577"/>
          <ac:spMkLst>
            <pc:docMk/>
            <pc:sldMk cId="2413557942" sldId="296"/>
            <ac:spMk id="48" creationId="{01919BDB-CED7-419F-B9F7-90D7FDC88433}"/>
          </ac:spMkLst>
        </pc:spChg>
        <pc:spChg chg="add mod">
          <ac:chgData name="Enric Mus Catala" userId="d65d4634-8e16-47e9-87ba-a549cc891999" providerId="ADAL" clId="{691A62D0-B4DF-4092-B847-DBF8356A7AF8}" dt="2022-12-21T23:05:31.066" v="6325" actId="20577"/>
          <ac:spMkLst>
            <pc:docMk/>
            <pc:sldMk cId="2413557942" sldId="296"/>
            <ac:spMk id="49" creationId="{2823646C-A062-45A2-80A1-87E65975CA76}"/>
          </ac:spMkLst>
        </pc:spChg>
        <pc:spChg chg="add mod">
          <ac:chgData name="Enric Mus Catala" userId="d65d4634-8e16-47e9-87ba-a549cc891999" providerId="ADAL" clId="{691A62D0-B4DF-4092-B847-DBF8356A7AF8}" dt="2022-12-21T23:06:18.804" v="6342" actId="20577"/>
          <ac:spMkLst>
            <pc:docMk/>
            <pc:sldMk cId="2413557942" sldId="296"/>
            <ac:spMk id="50" creationId="{9782AA86-A28C-4F2E-93BD-388DB362927E}"/>
          </ac:spMkLst>
        </pc:spChg>
        <pc:spChg chg="add mod">
          <ac:chgData name="Enric Mus Catala" userId="d65d4634-8e16-47e9-87ba-a549cc891999" providerId="ADAL" clId="{691A62D0-B4DF-4092-B847-DBF8356A7AF8}" dt="2022-12-21T20:38:22.548" v="5335" actId="790"/>
          <ac:spMkLst>
            <pc:docMk/>
            <pc:sldMk cId="2413557942" sldId="296"/>
            <ac:spMk id="51" creationId="{320B436F-4886-4A1D-8855-4DDFDCC741D6}"/>
          </ac:spMkLst>
        </pc:spChg>
        <pc:grpChg chg="add mod">
          <ac:chgData name="Enric Mus Catala" userId="d65d4634-8e16-47e9-87ba-a549cc891999" providerId="ADAL" clId="{691A62D0-B4DF-4092-B847-DBF8356A7AF8}" dt="2022-12-21T20:35:20.016" v="5261" actId="1076"/>
          <ac:grpSpMkLst>
            <pc:docMk/>
            <pc:sldMk cId="2413557942" sldId="296"/>
            <ac:grpSpMk id="17" creationId="{1C874EDB-89E5-4BC8-B00F-45C1B0576619}"/>
          </ac:grpSpMkLst>
        </pc:grpChg>
        <pc:grpChg chg="del">
          <ac:chgData name="Enric Mus Catala" userId="d65d4634-8e16-47e9-87ba-a549cc891999" providerId="ADAL" clId="{691A62D0-B4DF-4092-B847-DBF8356A7AF8}" dt="2022-12-21T20:13:32.171" v="4542" actId="478"/>
          <ac:grpSpMkLst>
            <pc:docMk/>
            <pc:sldMk cId="2413557942" sldId="296"/>
            <ac:grpSpMk id="18" creationId="{3825CD2A-D2AA-4C89-A0F3-0AB51BC8A6B3}"/>
          </ac:grpSpMkLst>
        </pc:grpChg>
        <pc:grpChg chg="add mod">
          <ac:chgData name="Enric Mus Catala" userId="d65d4634-8e16-47e9-87ba-a549cc891999" providerId="ADAL" clId="{691A62D0-B4DF-4092-B847-DBF8356A7AF8}" dt="2022-12-21T20:36:43.393" v="5265" actId="1076"/>
          <ac:grpSpMkLst>
            <pc:docMk/>
            <pc:sldMk cId="2413557942" sldId="296"/>
            <ac:grpSpMk id="20" creationId="{A2342F6F-AFE7-427C-95CC-A684F05845E6}"/>
          </ac:grpSpMkLst>
        </pc:grpChg>
        <pc:grpChg chg="del">
          <ac:chgData name="Enric Mus Catala" userId="d65d4634-8e16-47e9-87ba-a549cc891999" providerId="ADAL" clId="{691A62D0-B4DF-4092-B847-DBF8356A7AF8}" dt="2022-12-21T20:13:32.171" v="4542" actId="478"/>
          <ac:grpSpMkLst>
            <pc:docMk/>
            <pc:sldMk cId="2413557942" sldId="296"/>
            <ac:grpSpMk id="22" creationId="{60E14A56-AC66-4263-900B-E50043D56AFC}"/>
          </ac:grpSpMkLst>
        </pc:grpChg>
        <pc:graphicFrameChg chg="mod">
          <ac:chgData name="Enric Mus Catala" userId="d65d4634-8e16-47e9-87ba-a549cc891999" providerId="ADAL" clId="{691A62D0-B4DF-4092-B847-DBF8356A7AF8}" dt="2022-12-21T20:38:23.018" v="5339"/>
          <ac:graphicFrameMkLst>
            <pc:docMk/>
            <pc:sldMk cId="2413557942" sldId="296"/>
            <ac:graphicFrameMk id="12" creationId="{F658D089-3C8A-4DB5-B385-1D8F29891C43}"/>
          </ac:graphicFrameMkLst>
        </pc:graphicFrameChg>
        <pc:picChg chg="del">
          <ac:chgData name="Enric Mus Catala" userId="d65d4634-8e16-47e9-87ba-a549cc891999" providerId="ADAL" clId="{691A62D0-B4DF-4092-B847-DBF8356A7AF8}" dt="2022-12-21T20:13:33.035" v="4543" actId="478"/>
          <ac:picMkLst>
            <pc:docMk/>
            <pc:sldMk cId="2413557942" sldId="296"/>
            <ac:picMk id="5" creationId="{5B9F63FD-EDD3-4A31-835B-4806A8B12B1A}"/>
          </ac:picMkLst>
        </pc:picChg>
        <pc:picChg chg="mod ord">
          <ac:chgData name="Enric Mus Catala" userId="d65d4634-8e16-47e9-87ba-a549cc891999" providerId="ADAL" clId="{691A62D0-B4DF-4092-B847-DBF8356A7AF8}" dt="2022-12-21T20:28:33.697" v="4978"/>
          <ac:picMkLst>
            <pc:docMk/>
            <pc:sldMk cId="2413557942" sldId="296"/>
            <ac:picMk id="19" creationId="{9E85B7F0-8B6D-4ED1-9341-1F9B79C7CA4B}"/>
          </ac:picMkLst>
        </pc:picChg>
      </pc:sldChg>
      <pc:sldChg chg="addSp delSp modSp add mod ord">
        <pc:chgData name="Enric Mus Catala" userId="d65d4634-8e16-47e9-87ba-a549cc891999" providerId="ADAL" clId="{691A62D0-B4DF-4092-B847-DBF8356A7AF8}" dt="2022-12-21T23:10:18.342" v="6974"/>
        <pc:sldMkLst>
          <pc:docMk/>
          <pc:sldMk cId="366564320" sldId="297"/>
        </pc:sldMkLst>
        <pc:picChg chg="add mod">
          <ac:chgData name="Enric Mus Catala" userId="d65d4634-8e16-47e9-87ba-a549cc891999" providerId="ADAL" clId="{691A62D0-B4DF-4092-B847-DBF8356A7AF8}" dt="2022-12-21T22:45:36.937" v="6320" actId="554"/>
          <ac:picMkLst>
            <pc:docMk/>
            <pc:sldMk cId="366564320" sldId="297"/>
            <ac:picMk id="4" creationId="{1005D3C0-74A7-4A23-B3DD-01C717654AF1}"/>
          </ac:picMkLst>
        </pc:picChg>
        <pc:picChg chg="add mod">
          <ac:chgData name="Enric Mus Catala" userId="d65d4634-8e16-47e9-87ba-a549cc891999" providerId="ADAL" clId="{691A62D0-B4DF-4092-B847-DBF8356A7AF8}" dt="2022-12-21T22:45:36.937" v="6320" actId="554"/>
          <ac:picMkLst>
            <pc:docMk/>
            <pc:sldMk cId="366564320" sldId="297"/>
            <ac:picMk id="5" creationId="{2EEE7978-0C68-4660-916E-2CD465E395A1}"/>
          </ac:picMkLst>
        </pc:picChg>
        <pc:picChg chg="add del mod">
          <ac:chgData name="Enric Mus Catala" userId="d65d4634-8e16-47e9-87ba-a549cc891999" providerId="ADAL" clId="{691A62D0-B4DF-4092-B847-DBF8356A7AF8}" dt="2022-12-21T22:45:32.144" v="6316" actId="478"/>
          <ac:picMkLst>
            <pc:docMk/>
            <pc:sldMk cId="366564320" sldId="297"/>
            <ac:picMk id="6" creationId="{5C02BEB5-6C15-4617-B73D-DFB43D83C7EF}"/>
          </ac:picMkLst>
        </pc:picChg>
        <pc:picChg chg="del">
          <ac:chgData name="Enric Mus Catala" userId="d65d4634-8e16-47e9-87ba-a549cc891999" providerId="ADAL" clId="{691A62D0-B4DF-4092-B847-DBF8356A7AF8}" dt="2022-12-21T21:13:36.271" v="6277" actId="478"/>
          <ac:picMkLst>
            <pc:docMk/>
            <pc:sldMk cId="366564320" sldId="297"/>
            <ac:picMk id="38" creationId="{F546FEBE-9E7D-457F-88F5-DB09C8FA2416}"/>
          </ac:picMkLst>
        </pc:picChg>
        <pc:picChg chg="del">
          <ac:chgData name="Enric Mus Catala" userId="d65d4634-8e16-47e9-87ba-a549cc891999" providerId="ADAL" clId="{691A62D0-B4DF-4092-B847-DBF8356A7AF8}" dt="2022-12-21T21:13:36.928" v="6278" actId="478"/>
          <ac:picMkLst>
            <pc:docMk/>
            <pc:sldMk cId="366564320" sldId="297"/>
            <ac:picMk id="40" creationId="{01BD85B2-4927-4C59-B4F6-A465CCB92AA9}"/>
          </ac:picMkLst>
        </pc:picChg>
      </pc:sldChg>
      <pc:sldChg chg="add del">
        <pc:chgData name="Enric Mus Catala" userId="d65d4634-8e16-47e9-87ba-a549cc891999" providerId="ADAL" clId="{691A62D0-B4DF-4092-B847-DBF8356A7AF8}" dt="2022-12-21T20:13:46.883" v="4561"/>
        <pc:sldMkLst>
          <pc:docMk/>
          <pc:sldMk cId="2541553256" sldId="297"/>
        </pc:sldMkLst>
      </pc:sldChg>
      <pc:sldChg chg="addSp delSp modSp add mod">
        <pc:chgData name="Enric Mus Catala" userId="d65d4634-8e16-47e9-87ba-a549cc891999" providerId="ADAL" clId="{691A62D0-B4DF-4092-B847-DBF8356A7AF8}" dt="2022-12-21T23:12:45.061" v="7031" actId="14100"/>
        <pc:sldMkLst>
          <pc:docMk/>
          <pc:sldMk cId="2418501799" sldId="298"/>
        </pc:sldMkLst>
        <pc:spChg chg="mod">
          <ac:chgData name="Enric Mus Catala" userId="d65d4634-8e16-47e9-87ba-a549cc891999" providerId="ADAL" clId="{691A62D0-B4DF-4092-B847-DBF8356A7AF8}" dt="2022-12-21T23:11:30.569" v="7018" actId="20577"/>
          <ac:spMkLst>
            <pc:docMk/>
            <pc:sldMk cId="2418501799" sldId="298"/>
            <ac:spMk id="4" creationId="{D51A6D85-3837-435F-A342-5A3F98172B12}"/>
          </ac:spMkLst>
        </pc:spChg>
        <pc:picChg chg="add mod modCrop">
          <ac:chgData name="Enric Mus Catala" userId="d65d4634-8e16-47e9-87ba-a549cc891999" providerId="ADAL" clId="{691A62D0-B4DF-4092-B847-DBF8356A7AF8}" dt="2022-12-21T23:12:45.061" v="7031" actId="14100"/>
          <ac:picMkLst>
            <pc:docMk/>
            <pc:sldMk cId="2418501799" sldId="298"/>
            <ac:picMk id="3" creationId="{992AC709-752B-46AE-8930-7B1729EE785D}"/>
          </ac:picMkLst>
        </pc:picChg>
        <pc:picChg chg="del">
          <ac:chgData name="Enric Mus Catala" userId="d65d4634-8e16-47e9-87ba-a549cc891999" providerId="ADAL" clId="{691A62D0-B4DF-4092-B847-DBF8356A7AF8}" dt="2022-12-21T23:12:31.592" v="7028" actId="478"/>
          <ac:picMkLst>
            <pc:docMk/>
            <pc:sldMk cId="2418501799" sldId="298"/>
            <ac:picMk id="9" creationId="{42B02CF1-CA98-4D0B-8FA3-A61D5F7936F9}"/>
          </ac:picMkLst>
        </pc:picChg>
      </pc:sldChg>
      <pc:sldChg chg="delSp add del mod">
        <pc:chgData name="Enric Mus Catala" userId="d65d4634-8e16-47e9-87ba-a549cc891999" providerId="ADAL" clId="{691A62D0-B4DF-4092-B847-DBF8356A7AF8}" dt="2022-12-21T23:11:13.619" v="7004" actId="2696"/>
        <pc:sldMkLst>
          <pc:docMk/>
          <pc:sldMk cId="3860431428" sldId="298"/>
        </pc:sldMkLst>
        <pc:picChg chg="del">
          <ac:chgData name="Enric Mus Catala" userId="d65d4634-8e16-47e9-87ba-a549cc891999" providerId="ADAL" clId="{691A62D0-B4DF-4092-B847-DBF8356A7AF8}" dt="2022-12-21T21:13:43.900" v="6280" actId="478"/>
          <ac:picMkLst>
            <pc:docMk/>
            <pc:sldMk cId="3860431428" sldId="298"/>
            <ac:picMk id="38" creationId="{F546FEBE-9E7D-457F-88F5-DB09C8FA2416}"/>
          </ac:picMkLst>
        </pc:picChg>
        <pc:picChg chg="del">
          <ac:chgData name="Enric Mus Catala" userId="d65d4634-8e16-47e9-87ba-a549cc891999" providerId="ADAL" clId="{691A62D0-B4DF-4092-B847-DBF8356A7AF8}" dt="2022-12-21T21:13:44.375" v="6281" actId="478"/>
          <ac:picMkLst>
            <pc:docMk/>
            <pc:sldMk cId="3860431428" sldId="298"/>
            <ac:picMk id="40" creationId="{01BD85B2-4927-4C59-B4F6-A465CCB92AA9}"/>
          </ac:picMkLst>
        </pc:picChg>
      </pc:sldChg>
      <pc:sldChg chg="addSp delSp modSp new add mod">
        <pc:chgData name="Enric Mus Catala" userId="d65d4634-8e16-47e9-87ba-a549cc891999" providerId="ADAL" clId="{691A62D0-B4DF-4092-B847-DBF8356A7AF8}" dt="2022-12-22T09:49:57.721" v="7834" actId="207"/>
        <pc:sldMkLst>
          <pc:docMk/>
          <pc:sldMk cId="297788859" sldId="299"/>
        </pc:sldMkLst>
        <pc:spChg chg="mod ord">
          <ac:chgData name="Enric Mus Catala" userId="d65d4634-8e16-47e9-87ba-a549cc891999" providerId="ADAL" clId="{691A62D0-B4DF-4092-B847-DBF8356A7AF8}" dt="2022-12-21T23:15:25.106" v="7108" actId="948"/>
          <ac:spMkLst>
            <pc:docMk/>
            <pc:sldMk cId="297788859" sldId="299"/>
            <ac:spMk id="2" creationId="{6F4E90F0-1332-4640-8E6F-AB413068C685}"/>
          </ac:spMkLst>
        </pc:spChg>
        <pc:spChg chg="del">
          <ac:chgData name="Enric Mus Catala" userId="d65d4634-8e16-47e9-87ba-a549cc891999" providerId="ADAL" clId="{691A62D0-B4DF-4092-B847-DBF8356A7AF8}" dt="2022-12-21T23:13:19.402" v="7037" actId="478"/>
          <ac:spMkLst>
            <pc:docMk/>
            <pc:sldMk cId="297788859" sldId="299"/>
            <ac:spMk id="3" creationId="{6CC8AAE5-8287-4ACE-B9CB-5A19BE3DEA5A}"/>
          </ac:spMkLst>
        </pc:spChg>
        <pc:spChg chg="del">
          <ac:chgData name="Enric Mus Catala" userId="d65d4634-8e16-47e9-87ba-a549cc891999" providerId="ADAL" clId="{691A62D0-B4DF-4092-B847-DBF8356A7AF8}" dt="2022-12-21T23:13:13.144" v="7034" actId="478"/>
          <ac:spMkLst>
            <pc:docMk/>
            <pc:sldMk cId="297788859" sldId="299"/>
            <ac:spMk id="4" creationId="{49B0EA36-72A2-4564-B168-A3506222FC09}"/>
          </ac:spMkLst>
        </pc:spChg>
        <pc:spChg chg="del">
          <ac:chgData name="Enric Mus Catala" userId="d65d4634-8e16-47e9-87ba-a549cc891999" providerId="ADAL" clId="{691A62D0-B4DF-4092-B847-DBF8356A7AF8}" dt="2022-12-21T23:13:13.767" v="7035" actId="478"/>
          <ac:spMkLst>
            <pc:docMk/>
            <pc:sldMk cId="297788859" sldId="299"/>
            <ac:spMk id="5" creationId="{9491339F-DC4A-498B-8BFF-91A52E92109A}"/>
          </ac:spMkLst>
        </pc:spChg>
        <pc:spChg chg="del">
          <ac:chgData name="Enric Mus Catala" userId="d65d4634-8e16-47e9-87ba-a549cc891999" providerId="ADAL" clId="{691A62D0-B4DF-4092-B847-DBF8356A7AF8}" dt="2022-12-21T23:13:15.460" v="7036" actId="478"/>
          <ac:spMkLst>
            <pc:docMk/>
            <pc:sldMk cId="297788859" sldId="299"/>
            <ac:spMk id="6" creationId="{CA93B240-6778-4842-ACE2-A4A125DDFB11}"/>
          </ac:spMkLst>
        </pc:spChg>
        <pc:spChg chg="del">
          <ac:chgData name="Enric Mus Catala" userId="d65d4634-8e16-47e9-87ba-a549cc891999" providerId="ADAL" clId="{691A62D0-B4DF-4092-B847-DBF8356A7AF8}" dt="2022-12-21T23:14:34.771" v="7085" actId="478"/>
          <ac:spMkLst>
            <pc:docMk/>
            <pc:sldMk cId="297788859" sldId="299"/>
            <ac:spMk id="7" creationId="{B9C9EE7D-E9FD-4364-AC05-E73DEECE4B06}"/>
          </ac:spMkLst>
        </pc:spChg>
        <pc:spChg chg="add del mod ord">
          <ac:chgData name="Enric Mus Catala" userId="d65d4634-8e16-47e9-87ba-a549cc891999" providerId="ADAL" clId="{691A62D0-B4DF-4092-B847-DBF8356A7AF8}" dt="2022-12-21T23:14:54.420" v="7098"/>
          <ac:spMkLst>
            <pc:docMk/>
            <pc:sldMk cId="297788859" sldId="299"/>
            <ac:spMk id="8" creationId="{8F77ADD7-51EB-4EA8-9402-144A8A5EA728}"/>
          </ac:spMkLst>
        </pc:spChg>
        <pc:spChg chg="add mod ord">
          <ac:chgData name="Enric Mus Catala" userId="d65d4634-8e16-47e9-87ba-a549cc891999" providerId="ADAL" clId="{691A62D0-B4DF-4092-B847-DBF8356A7AF8}" dt="2022-12-21T23:14:54.419" v="7096"/>
          <ac:spMkLst>
            <pc:docMk/>
            <pc:sldMk cId="297788859" sldId="299"/>
            <ac:spMk id="12" creationId="{2BDEC9FD-B42B-4092-AE6C-5241D675CD01}"/>
          </ac:spMkLst>
        </pc:spChg>
        <pc:spChg chg="add mod">
          <ac:chgData name="Enric Mus Catala" userId="d65d4634-8e16-47e9-87ba-a549cc891999" providerId="ADAL" clId="{691A62D0-B4DF-4092-B847-DBF8356A7AF8}" dt="2022-12-21T23:17:31.720" v="7196" actId="14100"/>
          <ac:spMkLst>
            <pc:docMk/>
            <pc:sldMk cId="297788859" sldId="299"/>
            <ac:spMk id="13" creationId="{2DF322AA-6E14-43CA-B63C-5C52639F712E}"/>
          </ac:spMkLst>
        </pc:spChg>
        <pc:spChg chg="add mod">
          <ac:chgData name="Enric Mus Catala" userId="d65d4634-8e16-47e9-87ba-a549cc891999" providerId="ADAL" clId="{691A62D0-B4DF-4092-B847-DBF8356A7AF8}" dt="2022-12-22T09:45:00.411" v="7832" actId="465"/>
          <ac:spMkLst>
            <pc:docMk/>
            <pc:sldMk cId="297788859" sldId="299"/>
            <ac:spMk id="14" creationId="{B61634E1-0581-4618-9575-41B8240470E7}"/>
          </ac:spMkLst>
        </pc:spChg>
        <pc:spChg chg="add mod">
          <ac:chgData name="Enric Mus Catala" userId="d65d4634-8e16-47e9-87ba-a549cc891999" providerId="ADAL" clId="{691A62D0-B4DF-4092-B847-DBF8356A7AF8}" dt="2022-12-22T09:28:11.587" v="7830" actId="555"/>
          <ac:spMkLst>
            <pc:docMk/>
            <pc:sldMk cId="297788859" sldId="299"/>
            <ac:spMk id="15" creationId="{563B5790-9E6A-4CBC-A0BD-F323B57B983B}"/>
          </ac:spMkLst>
        </pc:spChg>
        <pc:graphicFrameChg chg="add mod ord modVis replST">
          <ac:chgData name="Enric Mus Catala" userId="d65d4634-8e16-47e9-87ba-a549cc891999" providerId="ADAL" clId="{691A62D0-B4DF-4092-B847-DBF8356A7AF8}" dt="2022-12-21T23:15:25.111" v="7111"/>
          <ac:graphicFrameMkLst>
            <pc:docMk/>
            <pc:sldMk cId="297788859" sldId="299"/>
            <ac:graphicFrameMk id="9" creationId="{C8EEF52F-DD21-46DA-8F8A-DD5CE70BD884}"/>
          </ac:graphicFrameMkLst>
        </pc:graphicFrameChg>
        <pc:picChg chg="add mod">
          <ac:chgData name="Enric Mus Catala" userId="d65d4634-8e16-47e9-87ba-a549cc891999" providerId="ADAL" clId="{691A62D0-B4DF-4092-B847-DBF8356A7AF8}" dt="2022-12-22T09:49:57.721" v="7834" actId="207"/>
          <ac:picMkLst>
            <pc:docMk/>
            <pc:sldMk cId="297788859" sldId="299"/>
            <ac:picMk id="4" creationId="{997B95C1-C33F-40B3-886C-76EDFE457A16}"/>
          </ac:picMkLst>
        </pc:picChg>
        <pc:picChg chg="add del mod">
          <ac:chgData name="Enric Mus Catala" userId="d65d4634-8e16-47e9-87ba-a549cc891999" providerId="ADAL" clId="{691A62D0-B4DF-4092-B847-DBF8356A7AF8}" dt="2022-12-22T09:25:03.260" v="7826" actId="478"/>
          <ac:picMkLst>
            <pc:docMk/>
            <pc:sldMk cId="297788859" sldId="299"/>
            <ac:picMk id="6" creationId="{09235634-EFA4-4634-AF73-BF0BA65A6910}"/>
          </ac:picMkLst>
        </pc:picChg>
        <pc:picChg chg="add mod">
          <ac:chgData name="Enric Mus Catala" userId="d65d4634-8e16-47e9-87ba-a549cc891999" providerId="ADAL" clId="{691A62D0-B4DF-4092-B847-DBF8356A7AF8}" dt="2022-12-22T09:49:57.721" v="7834" actId="207"/>
          <ac:picMkLst>
            <pc:docMk/>
            <pc:sldMk cId="297788859" sldId="299"/>
            <ac:picMk id="10" creationId="{C4CFDF04-D7B7-4F6C-99C1-0169F1A4689F}"/>
          </ac:picMkLst>
        </pc:picChg>
        <pc:picChg chg="add mod ord">
          <ac:chgData name="Enric Mus Catala" userId="d65d4634-8e16-47e9-87ba-a549cc891999" providerId="ADAL" clId="{691A62D0-B4DF-4092-B847-DBF8356A7AF8}" dt="2022-12-22T09:28:11.587" v="7830" actId="555"/>
          <ac:picMkLst>
            <pc:docMk/>
            <pc:sldMk cId="297788859" sldId="299"/>
            <ac:picMk id="11" creationId="{A75EB3B5-B8CF-4D72-95F3-815F0621F107}"/>
          </ac:picMkLst>
        </pc:picChg>
        <pc:picChg chg="add mod">
          <ac:chgData name="Enric Mus Catala" userId="d65d4634-8e16-47e9-87ba-a549cc891999" providerId="ADAL" clId="{691A62D0-B4DF-4092-B847-DBF8356A7AF8}" dt="2022-12-22T09:49:57.721" v="7834" actId="207"/>
          <ac:picMkLst>
            <pc:docMk/>
            <pc:sldMk cId="297788859" sldId="299"/>
            <ac:picMk id="17" creationId="{1176599E-4BCE-4AD2-A6C7-97ADD61E757A}"/>
          </ac:picMkLst>
        </pc:picChg>
      </pc:sldChg>
      <pc:sldChg chg="addSp delSp modSp add mod">
        <pc:chgData name="Enric Mus Catala" userId="d65d4634-8e16-47e9-87ba-a549cc891999" providerId="ADAL" clId="{691A62D0-B4DF-4092-B847-DBF8356A7AF8}" dt="2022-12-21T23:26:43.787" v="7645"/>
        <pc:sldMkLst>
          <pc:docMk/>
          <pc:sldMk cId="1129874978" sldId="300"/>
        </pc:sldMkLst>
        <pc:spChg chg="mod">
          <ac:chgData name="Enric Mus Catala" userId="d65d4634-8e16-47e9-87ba-a549cc891999" providerId="ADAL" clId="{691A62D0-B4DF-4092-B847-DBF8356A7AF8}" dt="2022-12-21T23:26:43.758" v="7603" actId="948"/>
          <ac:spMkLst>
            <pc:docMk/>
            <pc:sldMk cId="1129874978" sldId="300"/>
            <ac:spMk id="2" creationId="{B8D6B1B9-77FC-433D-9851-1201CFDA3270}"/>
          </ac:spMkLst>
        </pc:spChg>
        <pc:spChg chg="add del mod modVis">
          <ac:chgData name="Enric Mus Catala" userId="d65d4634-8e16-47e9-87ba-a549cc891999" providerId="ADAL" clId="{691A62D0-B4DF-4092-B847-DBF8356A7AF8}" dt="2022-12-21T23:26:30.238" v="7415"/>
          <ac:spMkLst>
            <pc:docMk/>
            <pc:sldMk cId="1129874978" sldId="300"/>
            <ac:spMk id="5" creationId="{DB6C1F80-70D2-4E6A-BFD1-5E5D489EB534}"/>
          </ac:spMkLst>
        </pc:spChg>
        <pc:spChg chg="add del mod modVis">
          <ac:chgData name="Enric Mus Catala" userId="d65d4634-8e16-47e9-87ba-a549cc891999" providerId="ADAL" clId="{691A62D0-B4DF-4092-B847-DBF8356A7AF8}" dt="2022-12-21T23:26:32.523" v="7467"/>
          <ac:spMkLst>
            <pc:docMk/>
            <pc:sldMk cId="1129874978" sldId="300"/>
            <ac:spMk id="6" creationId="{ADEA0B16-F9E0-4419-9845-DF1AA8D7CA9C}"/>
          </ac:spMkLst>
        </pc:spChg>
        <pc:spChg chg="add del mod modVis">
          <ac:chgData name="Enric Mus Catala" userId="d65d4634-8e16-47e9-87ba-a549cc891999" providerId="ADAL" clId="{691A62D0-B4DF-4092-B847-DBF8356A7AF8}" dt="2022-12-21T23:26:34.767" v="7511"/>
          <ac:spMkLst>
            <pc:docMk/>
            <pc:sldMk cId="1129874978" sldId="300"/>
            <ac:spMk id="7" creationId="{EA90B5C5-A263-4207-B950-983E33F2D7C3}"/>
          </ac:spMkLst>
        </pc:spChg>
        <pc:spChg chg="add del mod modVis">
          <ac:chgData name="Enric Mus Catala" userId="d65d4634-8e16-47e9-87ba-a549cc891999" providerId="ADAL" clId="{691A62D0-B4DF-4092-B847-DBF8356A7AF8}" dt="2022-12-21T23:26:41.372" v="7555"/>
          <ac:spMkLst>
            <pc:docMk/>
            <pc:sldMk cId="1129874978" sldId="300"/>
            <ac:spMk id="8" creationId="{975DB261-983E-4F2B-B3E7-A52912C3483B}"/>
          </ac:spMkLst>
        </pc:spChg>
        <pc:spChg chg="add del mod modVis">
          <ac:chgData name="Enric Mus Catala" userId="d65d4634-8e16-47e9-87ba-a549cc891999" providerId="ADAL" clId="{691A62D0-B4DF-4092-B847-DBF8356A7AF8}" dt="2022-12-21T23:26:43.218" v="7599"/>
          <ac:spMkLst>
            <pc:docMk/>
            <pc:sldMk cId="1129874978" sldId="300"/>
            <ac:spMk id="9" creationId="{2D5B1B66-D3F5-4ECD-BCA3-DE1519810CC2}"/>
          </ac:spMkLst>
        </pc:spChg>
        <pc:spChg chg="add del mod modVis">
          <ac:chgData name="Enric Mus Catala" userId="d65d4634-8e16-47e9-87ba-a549cc891999" providerId="ADAL" clId="{691A62D0-B4DF-4092-B847-DBF8356A7AF8}" dt="2022-12-21T23:26:43.784" v="7643"/>
          <ac:spMkLst>
            <pc:docMk/>
            <pc:sldMk cId="1129874978" sldId="300"/>
            <ac:spMk id="10" creationId="{5B95D1C3-6EB9-474C-BBF0-79A235A4D691}"/>
          </ac:spMkLst>
        </pc:spChg>
        <pc:graphicFrameChg chg="mod">
          <ac:chgData name="Enric Mus Catala" userId="d65d4634-8e16-47e9-87ba-a549cc891999" providerId="ADAL" clId="{691A62D0-B4DF-4092-B847-DBF8356A7AF8}" dt="2022-12-21T23:26:43.787" v="7645"/>
          <ac:graphicFrameMkLst>
            <pc:docMk/>
            <pc:sldMk cId="1129874978" sldId="300"/>
            <ac:graphicFrameMk id="12" creationId="{F658D089-3C8A-4DB5-B385-1D8F29891C43}"/>
          </ac:graphicFrameMkLst>
        </pc:graphicFrameChg>
        <pc:picChg chg="add mod">
          <ac:chgData name="Enric Mus Catala" userId="d65d4634-8e16-47e9-87ba-a549cc891999" providerId="ADAL" clId="{691A62D0-B4DF-4092-B847-DBF8356A7AF8}" dt="2022-12-21T23:25:52.690" v="7352" actId="1076"/>
          <ac:picMkLst>
            <pc:docMk/>
            <pc:sldMk cId="1129874978" sldId="300"/>
            <ac:picMk id="4" creationId="{2CBC7E4F-A7A5-41ED-9811-BEB0F3805421}"/>
          </ac:picMkLst>
        </pc:picChg>
        <pc:picChg chg="del">
          <ac:chgData name="Enric Mus Catala" userId="d65d4634-8e16-47e9-87ba-a549cc891999" providerId="ADAL" clId="{691A62D0-B4DF-4092-B847-DBF8356A7AF8}" dt="2022-12-21T23:24:55.556" v="7314" actId="478"/>
          <ac:picMkLst>
            <pc:docMk/>
            <pc:sldMk cId="1129874978" sldId="300"/>
            <ac:picMk id="38" creationId="{F546FEBE-9E7D-457F-88F5-DB09C8FA2416}"/>
          </ac:picMkLst>
        </pc:picChg>
        <pc:picChg chg="del">
          <ac:chgData name="Enric Mus Catala" userId="d65d4634-8e16-47e9-87ba-a549cc891999" providerId="ADAL" clId="{691A62D0-B4DF-4092-B847-DBF8356A7AF8}" dt="2022-12-21T23:24:57.192" v="7315" actId="478"/>
          <ac:picMkLst>
            <pc:docMk/>
            <pc:sldMk cId="1129874978" sldId="300"/>
            <ac:picMk id="40" creationId="{01BD85B2-4927-4C59-B4F6-A465CCB92AA9}"/>
          </ac:picMkLst>
        </pc:picChg>
      </pc:sldChg>
      <pc:sldChg chg="add del">
        <pc:chgData name="Enric Mus Catala" userId="d65d4634-8e16-47e9-87ba-a549cc891999" providerId="ADAL" clId="{691A62D0-B4DF-4092-B847-DBF8356A7AF8}" dt="2022-12-21T23:25:19.284" v="7317" actId="2696"/>
        <pc:sldMkLst>
          <pc:docMk/>
          <pc:sldMk cId="1332454019" sldId="301"/>
        </pc:sldMkLst>
      </pc:sldChg>
      <pc:sldChg chg="addSp delSp modSp new add mod">
        <pc:chgData name="Enric Mus Catala" userId="d65d4634-8e16-47e9-87ba-a549cc891999" providerId="ADAL" clId="{691A62D0-B4DF-4092-B847-DBF8356A7AF8}" dt="2022-12-21T23:30:47.635" v="7816" actId="6559"/>
        <pc:sldMkLst>
          <pc:docMk/>
          <pc:sldMk cId="2865638935" sldId="301"/>
        </pc:sldMkLst>
        <pc:spChg chg="del">
          <ac:chgData name="Enric Mus Catala" userId="d65d4634-8e16-47e9-87ba-a549cc891999" providerId="ADAL" clId="{691A62D0-B4DF-4092-B847-DBF8356A7AF8}" dt="2022-12-21T23:28:00.212" v="7767" actId="478"/>
          <ac:spMkLst>
            <pc:docMk/>
            <pc:sldMk cId="2865638935" sldId="301"/>
            <ac:spMk id="2" creationId="{FE970943-CDB9-4082-BB14-7C1964ADA53E}"/>
          </ac:spMkLst>
        </pc:spChg>
        <pc:spChg chg="del">
          <ac:chgData name="Enric Mus Catala" userId="d65d4634-8e16-47e9-87ba-a549cc891999" providerId="ADAL" clId="{691A62D0-B4DF-4092-B847-DBF8356A7AF8}" dt="2022-12-21T23:28:03.159" v="7785" actId="478"/>
          <ac:spMkLst>
            <pc:docMk/>
            <pc:sldMk cId="2865638935" sldId="301"/>
            <ac:spMk id="3" creationId="{A1E447A3-BBD9-4099-81D9-EAFFE1D1A1A5}"/>
          </ac:spMkLst>
        </pc:spChg>
        <pc:spChg chg="add mod">
          <ac:chgData name="Enric Mus Catala" userId="d65d4634-8e16-47e9-87ba-a549cc891999" providerId="ADAL" clId="{691A62D0-B4DF-4092-B847-DBF8356A7AF8}" dt="2022-12-21T23:28:35.524" v="7793" actId="14100"/>
          <ac:spMkLst>
            <pc:docMk/>
            <pc:sldMk cId="2865638935" sldId="301"/>
            <ac:spMk id="5" creationId="{3E6E1622-3669-4736-9A15-5D63A1AC7C47}"/>
          </ac:spMkLst>
        </pc:spChg>
        <pc:spChg chg="add mod">
          <ac:chgData name="Enric Mus Catala" userId="d65d4634-8e16-47e9-87ba-a549cc891999" providerId="ADAL" clId="{691A62D0-B4DF-4092-B847-DBF8356A7AF8}" dt="2022-12-21T23:30:47.635" v="7816" actId="6559"/>
          <ac:spMkLst>
            <pc:docMk/>
            <pc:sldMk cId="2865638935" sldId="301"/>
            <ac:spMk id="6" creationId="{A7329A39-784C-4CFB-9768-DCC0EF152B72}"/>
          </ac:spMkLst>
        </pc:spChg>
        <pc:graphicFrameChg chg="add mod ord modVis replST">
          <ac:chgData name="Enric Mus Catala" userId="d65d4634-8e16-47e9-87ba-a549cc891999" providerId="ADAL" clId="{691A62D0-B4DF-4092-B847-DBF8356A7AF8}" dt="2022-12-21T23:28:00.747" v="7784"/>
          <ac:graphicFrameMkLst>
            <pc:docMk/>
            <pc:sldMk cId="2865638935" sldId="301"/>
            <ac:graphicFrameMk id="4" creationId="{A28935C9-D1C3-4B2F-8F7D-A847ECAA1D1E}"/>
          </ac:graphicFrameMkLst>
        </pc:graphicFrameChg>
      </pc:sldChg>
    </pc:docChg>
  </pc:docChgLst>
  <pc:docChgLst>
    <pc:chgData name="Enric Mus Catala" userId="d65d4634-8e16-47e9-87ba-a549cc891999" providerId="ADAL" clId="{1764B92F-D8D8-4DA2-A42C-C8894BC14D97}"/>
    <pc:docChg chg="custSel modSld sldOrd replTag">
      <pc:chgData name="Enric Mus Catala" userId="d65d4634-8e16-47e9-87ba-a549cc891999" providerId="ADAL" clId="{1764B92F-D8D8-4DA2-A42C-C8894BC14D97}" dt="2022-12-22T15:25:36.496" v="653" actId="20577"/>
      <pc:docMkLst>
        <pc:docMk/>
      </pc:docMkLst>
      <pc:sldChg chg="addSp delSp modSp mod">
        <pc:chgData name="Enric Mus Catala" userId="d65d4634-8e16-47e9-87ba-a549cc891999" providerId="ADAL" clId="{1764B92F-D8D8-4DA2-A42C-C8894BC14D97}" dt="2022-12-22T14:32:21.743" v="46"/>
        <pc:sldMkLst>
          <pc:docMk/>
          <pc:sldMk cId="88385781" sldId="283"/>
        </pc:sldMkLst>
        <pc:spChg chg="mod">
          <ac:chgData name="Enric Mus Catala" userId="d65d4634-8e16-47e9-87ba-a549cc891999" providerId="ADAL" clId="{1764B92F-D8D8-4DA2-A42C-C8894BC14D97}" dt="2022-12-22T14:32:21.710" v="4" actId="948"/>
          <ac:spMkLst>
            <pc:docMk/>
            <pc:sldMk cId="88385781" sldId="283"/>
            <ac:spMk id="2" creationId="{8460295B-54B9-4937-90E3-BAB9CE69E30B}"/>
          </ac:spMkLst>
        </pc:spChg>
        <pc:spChg chg="add del mod modVis">
          <ac:chgData name="Enric Mus Catala" userId="d65d4634-8e16-47e9-87ba-a549cc891999" providerId="ADAL" clId="{1764B92F-D8D8-4DA2-A42C-C8894BC14D97}" dt="2022-12-22T14:32:21.743" v="44"/>
          <ac:spMkLst>
            <pc:docMk/>
            <pc:sldMk cId="88385781" sldId="283"/>
            <ac:spMk id="3" creationId="{17620375-069E-4E7E-A55F-6F43F5DC8993}"/>
          </ac:spMkLst>
        </pc:spChg>
        <pc:graphicFrameChg chg="mod">
          <ac:chgData name="Enric Mus Catala" userId="d65d4634-8e16-47e9-87ba-a549cc891999" providerId="ADAL" clId="{1764B92F-D8D8-4DA2-A42C-C8894BC14D97}" dt="2022-12-22T14:32:21.743" v="46"/>
          <ac:graphicFrameMkLst>
            <pc:docMk/>
            <pc:sldMk cId="88385781" sldId="283"/>
            <ac:graphicFrameMk id="5" creationId="{051E33D7-5EE7-4E43-95B4-F82EFB01A789}"/>
          </ac:graphicFrameMkLst>
        </pc:graphicFrameChg>
      </pc:sldChg>
      <pc:sldChg chg="delSp mod">
        <pc:chgData name="Enric Mus Catala" userId="d65d4634-8e16-47e9-87ba-a549cc891999" providerId="ADAL" clId="{1764B92F-D8D8-4DA2-A42C-C8894BC14D97}" dt="2022-12-22T15:05:06.018" v="639" actId="478"/>
        <pc:sldMkLst>
          <pc:docMk/>
          <pc:sldMk cId="1944375919" sldId="286"/>
        </pc:sldMkLst>
        <pc:spChg chg="del">
          <ac:chgData name="Enric Mus Catala" userId="d65d4634-8e16-47e9-87ba-a549cc891999" providerId="ADAL" clId="{1764B92F-D8D8-4DA2-A42C-C8894BC14D97}" dt="2022-12-22T15:05:06.018" v="639" actId="478"/>
          <ac:spMkLst>
            <pc:docMk/>
            <pc:sldMk cId="1944375919" sldId="286"/>
            <ac:spMk id="10" creationId="{523F2142-23CD-4ACA-BB2C-A54FDCFDCA25}"/>
          </ac:spMkLst>
        </pc:spChg>
      </pc:sldChg>
      <pc:sldChg chg="modNotesTx">
        <pc:chgData name="Enric Mus Catala" userId="d65d4634-8e16-47e9-87ba-a549cc891999" providerId="ADAL" clId="{1764B92F-D8D8-4DA2-A42C-C8894BC14D97}" dt="2022-12-22T14:56:03.077" v="442" actId="20577"/>
        <pc:sldMkLst>
          <pc:docMk/>
          <pc:sldMk cId="806574220" sldId="287"/>
        </pc:sldMkLst>
      </pc:sldChg>
      <pc:sldChg chg="addSp delSp modSp mod">
        <pc:chgData name="Enric Mus Catala" userId="d65d4634-8e16-47e9-87ba-a549cc891999" providerId="ADAL" clId="{1764B92F-D8D8-4DA2-A42C-C8894BC14D97}" dt="2022-12-22T14:55:21.450" v="438" actId="2711"/>
        <pc:sldMkLst>
          <pc:docMk/>
          <pc:sldMk cId="1454637151" sldId="288"/>
        </pc:sldMkLst>
        <pc:spChg chg="add mod">
          <ac:chgData name="Enric Mus Catala" userId="d65d4634-8e16-47e9-87ba-a549cc891999" providerId="ADAL" clId="{1764B92F-D8D8-4DA2-A42C-C8894BC14D97}" dt="2022-12-22T14:55:21.450" v="438" actId="2711"/>
          <ac:spMkLst>
            <pc:docMk/>
            <pc:sldMk cId="1454637151" sldId="288"/>
            <ac:spMk id="18" creationId="{22C1181E-DA28-40EC-98FB-A382D1CBDD22}"/>
          </ac:spMkLst>
        </pc:spChg>
        <pc:picChg chg="add del mod">
          <ac:chgData name="Enric Mus Catala" userId="d65d4634-8e16-47e9-87ba-a549cc891999" providerId="ADAL" clId="{1764B92F-D8D8-4DA2-A42C-C8894BC14D97}" dt="2022-12-22T14:42:17.203" v="153" actId="478"/>
          <ac:picMkLst>
            <pc:docMk/>
            <pc:sldMk cId="1454637151" sldId="288"/>
            <ac:picMk id="4" creationId="{FD665F3B-14C9-44E2-B5DE-FFA0EB789A0C}"/>
          </ac:picMkLst>
        </pc:picChg>
        <pc:picChg chg="add del mod">
          <ac:chgData name="Enric Mus Catala" userId="d65d4634-8e16-47e9-87ba-a549cc891999" providerId="ADAL" clId="{1764B92F-D8D8-4DA2-A42C-C8894BC14D97}" dt="2022-12-22T14:42:33.823" v="159" actId="478"/>
          <ac:picMkLst>
            <pc:docMk/>
            <pc:sldMk cId="1454637151" sldId="288"/>
            <ac:picMk id="6" creationId="{8FD3D961-98FA-4589-A6B9-6EA32FDA6D94}"/>
          </ac:picMkLst>
        </pc:picChg>
        <pc:picChg chg="add del mod ord">
          <ac:chgData name="Enric Mus Catala" userId="d65d4634-8e16-47e9-87ba-a549cc891999" providerId="ADAL" clId="{1764B92F-D8D8-4DA2-A42C-C8894BC14D97}" dt="2022-12-22T14:54:57.963" v="415" actId="478"/>
          <ac:picMkLst>
            <pc:docMk/>
            <pc:sldMk cId="1454637151" sldId="288"/>
            <ac:picMk id="8" creationId="{996CE10C-F6DA-4077-AB8D-B34DF2EEEDAA}"/>
          </ac:picMkLst>
        </pc:picChg>
        <pc:picChg chg="add mod">
          <ac:chgData name="Enric Mus Catala" userId="d65d4634-8e16-47e9-87ba-a549cc891999" providerId="ADAL" clId="{1764B92F-D8D8-4DA2-A42C-C8894BC14D97}" dt="2022-12-22T14:49:14.672" v="292" actId="554"/>
          <ac:picMkLst>
            <pc:docMk/>
            <pc:sldMk cId="1454637151" sldId="288"/>
            <ac:picMk id="10" creationId="{51C014A2-8D73-4651-BB0B-ED073665BC78}"/>
          </ac:picMkLst>
        </pc:picChg>
        <pc:picChg chg="add mod">
          <ac:chgData name="Enric Mus Catala" userId="d65d4634-8e16-47e9-87ba-a549cc891999" providerId="ADAL" clId="{1764B92F-D8D8-4DA2-A42C-C8894BC14D97}" dt="2022-12-22T14:49:05.339" v="291" actId="1076"/>
          <ac:picMkLst>
            <pc:docMk/>
            <pc:sldMk cId="1454637151" sldId="288"/>
            <ac:picMk id="14" creationId="{F7DA412D-5C02-48DF-AD29-04E3AE473F9F}"/>
          </ac:picMkLst>
        </pc:picChg>
        <pc:picChg chg="add mod ord">
          <ac:chgData name="Enric Mus Catala" userId="d65d4634-8e16-47e9-87ba-a549cc891999" providerId="ADAL" clId="{1764B92F-D8D8-4DA2-A42C-C8894BC14D97}" dt="2022-12-22T14:54:55.659" v="414"/>
          <ac:picMkLst>
            <pc:docMk/>
            <pc:sldMk cId="1454637151" sldId="288"/>
            <ac:picMk id="16" creationId="{E9DF2729-89D7-4B61-9A92-001D55686893}"/>
          </ac:picMkLst>
        </pc:picChg>
        <pc:picChg chg="del">
          <ac:chgData name="Enric Mus Catala" userId="d65d4634-8e16-47e9-87ba-a549cc891999" providerId="ADAL" clId="{1764B92F-D8D8-4DA2-A42C-C8894BC14D97}" dt="2022-12-22T14:40:01.641" v="105" actId="478"/>
          <ac:picMkLst>
            <pc:docMk/>
            <pc:sldMk cId="1454637151" sldId="288"/>
            <ac:picMk id="38" creationId="{F546FEBE-9E7D-457F-88F5-DB09C8FA2416}"/>
          </ac:picMkLst>
        </pc:picChg>
        <pc:picChg chg="del">
          <ac:chgData name="Enric Mus Catala" userId="d65d4634-8e16-47e9-87ba-a549cc891999" providerId="ADAL" clId="{1764B92F-D8D8-4DA2-A42C-C8894BC14D97}" dt="2022-12-22T14:40:02.351" v="106" actId="478"/>
          <ac:picMkLst>
            <pc:docMk/>
            <pc:sldMk cId="1454637151" sldId="288"/>
            <ac:picMk id="40" creationId="{01BD85B2-4927-4C59-B4F6-A465CCB92AA9}"/>
          </ac:picMkLst>
        </pc:picChg>
      </pc:sldChg>
      <pc:sldChg chg="modSp mod">
        <pc:chgData name="Enric Mus Catala" userId="d65d4634-8e16-47e9-87ba-a549cc891999" providerId="ADAL" clId="{1764B92F-D8D8-4DA2-A42C-C8894BC14D97}" dt="2022-12-22T14:33:59.805" v="97" actId="20577"/>
        <pc:sldMkLst>
          <pc:docMk/>
          <pc:sldMk cId="440729649" sldId="289"/>
        </pc:sldMkLst>
        <pc:spChg chg="mod">
          <ac:chgData name="Enric Mus Catala" userId="d65d4634-8e16-47e9-87ba-a549cc891999" providerId="ADAL" clId="{1764B92F-D8D8-4DA2-A42C-C8894BC14D97}" dt="2022-12-22T14:33:25.734" v="58" actId="114"/>
          <ac:spMkLst>
            <pc:docMk/>
            <pc:sldMk cId="440729649" sldId="289"/>
            <ac:spMk id="16" creationId="{8A7F1A16-8F00-4723-B43A-3BF30C5C5044}"/>
          </ac:spMkLst>
        </pc:spChg>
        <pc:spChg chg="mod">
          <ac:chgData name="Enric Mus Catala" userId="d65d4634-8e16-47e9-87ba-a549cc891999" providerId="ADAL" clId="{1764B92F-D8D8-4DA2-A42C-C8894BC14D97}" dt="2022-12-22T14:33:59.805" v="97" actId="20577"/>
          <ac:spMkLst>
            <pc:docMk/>
            <pc:sldMk cId="440729649" sldId="289"/>
            <ac:spMk id="28" creationId="{14EA2A31-0B1A-44A2-8656-9867FAB1FCFD}"/>
          </ac:spMkLst>
        </pc:spChg>
      </pc:sldChg>
      <pc:sldChg chg="modSp mod modNotesTx">
        <pc:chgData name="Enric Mus Catala" userId="d65d4634-8e16-47e9-87ba-a549cc891999" providerId="ADAL" clId="{1764B92F-D8D8-4DA2-A42C-C8894BC14D97}" dt="2022-12-22T14:35:23.270" v="104" actId="20577"/>
        <pc:sldMkLst>
          <pc:docMk/>
          <pc:sldMk cId="1341330009" sldId="290"/>
        </pc:sldMkLst>
        <pc:spChg chg="mod">
          <ac:chgData name="Enric Mus Catala" userId="d65d4634-8e16-47e9-87ba-a549cc891999" providerId="ADAL" clId="{1764B92F-D8D8-4DA2-A42C-C8894BC14D97}" dt="2022-12-22T14:35:15.978" v="103" actId="207"/>
          <ac:spMkLst>
            <pc:docMk/>
            <pc:sldMk cId="1341330009" sldId="290"/>
            <ac:spMk id="18" creationId="{CEBAF0F9-0C80-4439-B403-340F2CB33238}"/>
          </ac:spMkLst>
        </pc:spChg>
      </pc:sldChg>
      <pc:sldChg chg="modSp mod">
        <pc:chgData name="Enric Mus Catala" userId="d65d4634-8e16-47e9-87ba-a549cc891999" providerId="ADAL" clId="{1764B92F-D8D8-4DA2-A42C-C8894BC14D97}" dt="2022-12-22T14:32:33.988" v="47" actId="14100"/>
        <pc:sldMkLst>
          <pc:docMk/>
          <pc:sldMk cId="1512038286" sldId="291"/>
        </pc:sldMkLst>
        <pc:picChg chg="mod">
          <ac:chgData name="Enric Mus Catala" userId="d65d4634-8e16-47e9-87ba-a549cc891999" providerId="ADAL" clId="{1764B92F-D8D8-4DA2-A42C-C8894BC14D97}" dt="2022-12-22T14:32:33.988" v="47" actId="14100"/>
          <ac:picMkLst>
            <pc:docMk/>
            <pc:sldMk cId="1512038286" sldId="291"/>
            <ac:picMk id="9" creationId="{B3047CD5-45E2-4A61-B875-0F27AA5FF626}"/>
          </ac:picMkLst>
        </pc:picChg>
      </pc:sldChg>
      <pc:sldChg chg="modNotesTx">
        <pc:chgData name="Enric Mus Catala" userId="d65d4634-8e16-47e9-87ba-a549cc891999" providerId="ADAL" clId="{1764B92F-D8D8-4DA2-A42C-C8894BC14D97}" dt="2022-12-22T14:55:54.211" v="441" actId="20577"/>
        <pc:sldMkLst>
          <pc:docMk/>
          <pc:sldMk cId="1953647900" sldId="293"/>
        </pc:sldMkLst>
      </pc:sldChg>
      <pc:sldChg chg="addSp modSp mod">
        <pc:chgData name="Enric Mus Catala" userId="d65d4634-8e16-47e9-87ba-a549cc891999" providerId="ADAL" clId="{1764B92F-D8D8-4DA2-A42C-C8894BC14D97}" dt="2022-12-22T15:25:36.496" v="653" actId="20577"/>
        <pc:sldMkLst>
          <pc:docMk/>
          <pc:sldMk cId="2413557942" sldId="296"/>
        </pc:sldMkLst>
        <pc:spChg chg="add">
          <ac:chgData name="Enric Mus Catala" userId="d65d4634-8e16-47e9-87ba-a549cc891999" providerId="ADAL" clId="{1764B92F-D8D8-4DA2-A42C-C8894BC14D97}" dt="2022-12-22T15:25:05.633" v="640"/>
          <ac:spMkLst>
            <pc:docMk/>
            <pc:sldMk cId="2413557942" sldId="296"/>
            <ac:spMk id="3" creationId="{2E494E12-8E7F-4548-AE28-B7AB1DDBBC79}"/>
          </ac:spMkLst>
        </pc:spChg>
        <pc:spChg chg="mod">
          <ac:chgData name="Enric Mus Catala" userId="d65d4634-8e16-47e9-87ba-a549cc891999" providerId="ADAL" clId="{1764B92F-D8D8-4DA2-A42C-C8894BC14D97}" dt="2022-12-22T15:25:16.515" v="642" actId="20577"/>
          <ac:spMkLst>
            <pc:docMk/>
            <pc:sldMk cId="2413557942" sldId="296"/>
            <ac:spMk id="16" creationId="{A1ECFBC0-7CA0-472C-9AF4-B4931C27B00C}"/>
          </ac:spMkLst>
        </pc:spChg>
        <pc:spChg chg="mod">
          <ac:chgData name="Enric Mus Catala" userId="d65d4634-8e16-47e9-87ba-a549cc891999" providerId="ADAL" clId="{1764B92F-D8D8-4DA2-A42C-C8894BC14D97}" dt="2022-12-22T15:25:36.496" v="653" actId="20577"/>
          <ac:spMkLst>
            <pc:docMk/>
            <pc:sldMk cId="2413557942" sldId="296"/>
            <ac:spMk id="48" creationId="{01919BDB-CED7-419F-B9F7-90D7FDC88433}"/>
          </ac:spMkLst>
        </pc:spChg>
        <pc:spChg chg="mod">
          <ac:chgData name="Enric Mus Catala" userId="d65d4634-8e16-47e9-87ba-a549cc891999" providerId="ADAL" clId="{1764B92F-D8D8-4DA2-A42C-C8894BC14D97}" dt="2022-12-22T15:25:26.506" v="648" actId="20577"/>
          <ac:spMkLst>
            <pc:docMk/>
            <pc:sldMk cId="2413557942" sldId="296"/>
            <ac:spMk id="50" creationId="{9782AA86-A28C-4F2E-93BD-388DB362927E}"/>
          </ac:spMkLst>
        </pc:spChg>
      </pc:sldChg>
      <pc:sldChg chg="ord">
        <pc:chgData name="Enric Mus Catala" userId="d65d4634-8e16-47e9-87ba-a549cc891999" providerId="ADAL" clId="{1764B92F-D8D8-4DA2-A42C-C8894BC14D97}" dt="2022-12-22T14:55:45.165" v="440"/>
        <pc:sldMkLst>
          <pc:docMk/>
          <pc:sldMk cId="366564320" sldId="297"/>
        </pc:sldMkLst>
      </pc:sldChg>
      <pc:sldChg chg="addSp modSp mod modNotesTx">
        <pc:chgData name="Enric Mus Catala" userId="d65d4634-8e16-47e9-87ba-a549cc891999" providerId="ADAL" clId="{1764B92F-D8D8-4DA2-A42C-C8894BC14D97}" dt="2022-12-22T15:00:59.270" v="638" actId="465"/>
        <pc:sldMkLst>
          <pc:docMk/>
          <pc:sldMk cId="297788859" sldId="299"/>
        </pc:sldMkLst>
        <pc:spChg chg="mod">
          <ac:chgData name="Enric Mus Catala" userId="d65d4634-8e16-47e9-87ba-a549cc891999" providerId="ADAL" clId="{1764B92F-D8D8-4DA2-A42C-C8894BC14D97}" dt="2022-12-22T14:59:06.340" v="625" actId="948"/>
          <ac:spMkLst>
            <pc:docMk/>
            <pc:sldMk cId="297788859" sldId="299"/>
            <ac:spMk id="2" creationId="{6F4E90F0-1332-4640-8E6F-AB413068C685}"/>
          </ac:spMkLst>
        </pc:spChg>
        <pc:spChg chg="mod">
          <ac:chgData name="Enric Mus Catala" userId="d65d4634-8e16-47e9-87ba-a549cc891999" providerId="ADAL" clId="{1764B92F-D8D8-4DA2-A42C-C8894BC14D97}" dt="2022-12-22T15:00:56.649" v="637" actId="164"/>
          <ac:spMkLst>
            <pc:docMk/>
            <pc:sldMk cId="297788859" sldId="299"/>
            <ac:spMk id="13" creationId="{2DF322AA-6E14-43CA-B63C-5C52639F712E}"/>
          </ac:spMkLst>
        </pc:spChg>
        <pc:spChg chg="mod">
          <ac:chgData name="Enric Mus Catala" userId="d65d4634-8e16-47e9-87ba-a549cc891999" providerId="ADAL" clId="{1764B92F-D8D8-4DA2-A42C-C8894BC14D97}" dt="2022-12-22T15:00:47.857" v="633" actId="164"/>
          <ac:spMkLst>
            <pc:docMk/>
            <pc:sldMk cId="297788859" sldId="299"/>
            <ac:spMk id="14" creationId="{B61634E1-0581-4618-9575-41B8240470E7}"/>
          </ac:spMkLst>
        </pc:spChg>
        <pc:spChg chg="mod">
          <ac:chgData name="Enric Mus Catala" userId="d65d4634-8e16-47e9-87ba-a549cc891999" providerId="ADAL" clId="{1764B92F-D8D8-4DA2-A42C-C8894BC14D97}" dt="2022-12-22T15:00:52.626" v="635" actId="164"/>
          <ac:spMkLst>
            <pc:docMk/>
            <pc:sldMk cId="297788859" sldId="299"/>
            <ac:spMk id="15" creationId="{563B5790-9E6A-4CBC-A0BD-F323B57B983B}"/>
          </ac:spMkLst>
        </pc:spChg>
        <pc:grpChg chg="add mod">
          <ac:chgData name="Enric Mus Catala" userId="d65d4634-8e16-47e9-87ba-a549cc891999" providerId="ADAL" clId="{1764B92F-D8D8-4DA2-A42C-C8894BC14D97}" dt="2022-12-22T15:00:59.270" v="638" actId="465"/>
          <ac:grpSpMkLst>
            <pc:docMk/>
            <pc:sldMk cId="297788859" sldId="299"/>
            <ac:grpSpMk id="3" creationId="{38461EB4-7F76-45BD-B340-06EBF29E07D8}"/>
          </ac:grpSpMkLst>
        </pc:grpChg>
        <pc:grpChg chg="add mod">
          <ac:chgData name="Enric Mus Catala" userId="d65d4634-8e16-47e9-87ba-a549cc891999" providerId="ADAL" clId="{1764B92F-D8D8-4DA2-A42C-C8894BC14D97}" dt="2022-12-22T15:00:52.626" v="635" actId="164"/>
          <ac:grpSpMkLst>
            <pc:docMk/>
            <pc:sldMk cId="297788859" sldId="299"/>
            <ac:grpSpMk id="5" creationId="{E482795E-CE98-4D60-807A-76A73B895213}"/>
          </ac:grpSpMkLst>
        </pc:grpChg>
        <pc:grpChg chg="add mod">
          <ac:chgData name="Enric Mus Catala" userId="d65d4634-8e16-47e9-87ba-a549cc891999" providerId="ADAL" clId="{1764B92F-D8D8-4DA2-A42C-C8894BC14D97}" dt="2022-12-22T15:00:56.649" v="637" actId="164"/>
          <ac:grpSpMkLst>
            <pc:docMk/>
            <pc:sldMk cId="297788859" sldId="299"/>
            <ac:grpSpMk id="6" creationId="{D0688A24-9278-4EF8-88BF-2215FF2E9A4E}"/>
          </ac:grpSpMkLst>
        </pc:grpChg>
        <pc:graphicFrameChg chg="mod">
          <ac:chgData name="Enric Mus Catala" userId="d65d4634-8e16-47e9-87ba-a549cc891999" providerId="ADAL" clId="{1764B92F-D8D8-4DA2-A42C-C8894BC14D97}" dt="2022-12-22T14:59:06.340" v="628"/>
          <ac:graphicFrameMkLst>
            <pc:docMk/>
            <pc:sldMk cId="297788859" sldId="299"/>
            <ac:graphicFrameMk id="9" creationId="{C8EEF52F-DD21-46DA-8F8A-DD5CE70BD884}"/>
          </ac:graphicFrameMkLst>
        </pc:graphicFrameChg>
        <pc:picChg chg="mod">
          <ac:chgData name="Enric Mus Catala" userId="d65d4634-8e16-47e9-87ba-a549cc891999" providerId="ADAL" clId="{1764B92F-D8D8-4DA2-A42C-C8894BC14D97}" dt="2022-12-22T15:00:47.857" v="633" actId="164"/>
          <ac:picMkLst>
            <pc:docMk/>
            <pc:sldMk cId="297788859" sldId="299"/>
            <ac:picMk id="4" creationId="{997B95C1-C33F-40B3-886C-76EDFE457A16}"/>
          </ac:picMkLst>
        </pc:picChg>
        <pc:picChg chg="mod">
          <ac:chgData name="Enric Mus Catala" userId="d65d4634-8e16-47e9-87ba-a549cc891999" providerId="ADAL" clId="{1764B92F-D8D8-4DA2-A42C-C8894BC14D97}" dt="2022-12-22T15:00:52.626" v="635" actId="164"/>
          <ac:picMkLst>
            <pc:docMk/>
            <pc:sldMk cId="297788859" sldId="299"/>
            <ac:picMk id="10" creationId="{C4CFDF04-D7B7-4F6C-99C1-0169F1A4689F}"/>
          </ac:picMkLst>
        </pc:picChg>
        <pc:picChg chg="mod">
          <ac:chgData name="Enric Mus Catala" userId="d65d4634-8e16-47e9-87ba-a549cc891999" providerId="ADAL" clId="{1764B92F-D8D8-4DA2-A42C-C8894BC14D97}" dt="2022-12-22T15:00:56.649" v="637" actId="164"/>
          <ac:picMkLst>
            <pc:docMk/>
            <pc:sldMk cId="297788859" sldId="299"/>
            <ac:picMk id="17" creationId="{1176599E-4BCE-4AD2-A6C7-97ADD61E757A}"/>
          </ac:picMkLst>
        </pc:picChg>
      </pc:sldChg>
      <pc:sldChg chg="addSp delSp modSp mod">
        <pc:chgData name="Enric Mus Catala" userId="d65d4634-8e16-47e9-87ba-a549cc891999" providerId="ADAL" clId="{1764B92F-D8D8-4DA2-A42C-C8894BC14D97}" dt="2022-12-22T14:55:08.446" v="434" actId="1036"/>
        <pc:sldMkLst>
          <pc:docMk/>
          <pc:sldMk cId="1129874978" sldId="300"/>
        </pc:sldMkLst>
        <pc:picChg chg="del">
          <ac:chgData name="Enric Mus Catala" userId="d65d4634-8e16-47e9-87ba-a549cc891999" providerId="ADAL" clId="{1764B92F-D8D8-4DA2-A42C-C8894BC14D97}" dt="2022-12-22T14:42:29.947" v="157" actId="478"/>
          <ac:picMkLst>
            <pc:docMk/>
            <pc:sldMk cId="1129874978" sldId="300"/>
            <ac:picMk id="4" creationId="{2CBC7E4F-A7A5-41ED-9811-BEB0F3805421}"/>
          </ac:picMkLst>
        </pc:picChg>
        <pc:picChg chg="add del mod modCrop">
          <ac:chgData name="Enric Mus Catala" userId="d65d4634-8e16-47e9-87ba-a549cc891999" providerId="ADAL" clId="{1764B92F-D8D8-4DA2-A42C-C8894BC14D97}" dt="2022-12-22T14:55:04.833" v="416" actId="478"/>
          <ac:picMkLst>
            <pc:docMk/>
            <pc:sldMk cId="1129874978" sldId="300"/>
            <ac:picMk id="5" creationId="{0228FB7D-19E9-471F-9294-6E34913BC6E9}"/>
          </ac:picMkLst>
        </pc:picChg>
        <pc:picChg chg="add mod">
          <ac:chgData name="Enric Mus Catala" userId="d65d4634-8e16-47e9-87ba-a549cc891999" providerId="ADAL" clId="{1764B92F-D8D8-4DA2-A42C-C8894BC14D97}" dt="2022-12-22T14:55:08.446" v="434" actId="1036"/>
          <ac:picMkLst>
            <pc:docMk/>
            <pc:sldMk cId="1129874978" sldId="300"/>
            <ac:picMk id="7" creationId="{5A9B0240-C084-4A9C-9F90-CAB78A9AAC94}"/>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80AE3C0-C0E9-40F8-963A-C710B0868CE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ADB19749-4C26-46F6-A13E-4F2E91EC14F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3AB2F5F-49ED-40E3-A1A5-941FF8279870}" type="datetimeFigureOut">
              <a:rPr lang="en-US" smtClean="0"/>
              <a:t>12/22/2022</a:t>
            </a:fld>
            <a:endParaRPr lang="en-US" dirty="0"/>
          </a:p>
        </p:txBody>
      </p:sp>
      <p:sp>
        <p:nvSpPr>
          <p:cNvPr id="4" name="Footer Placeholder 3">
            <a:extLst>
              <a:ext uri="{FF2B5EF4-FFF2-40B4-BE49-F238E27FC236}">
                <a16:creationId xmlns:a16="http://schemas.microsoft.com/office/drawing/2014/main" id="{49826E5B-3572-4EEA-91A0-FE0838ED614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E81D8116-DB0F-4C4A-85AD-5331C0D78B8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4DB74FA-BCF5-412C-B474-5CA730E53DF5}" type="slidenum">
              <a:rPr lang="en-US" smtClean="0"/>
              <a:t>‹#›</a:t>
            </a:fld>
            <a:endParaRPr lang="en-US" dirty="0"/>
          </a:p>
        </p:txBody>
      </p:sp>
    </p:spTree>
    <p:extLst>
      <p:ext uri="{BB962C8B-B14F-4D97-AF65-F5344CB8AC3E}">
        <p14:creationId xmlns:p14="http://schemas.microsoft.com/office/powerpoint/2010/main" val="14256456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2C1060-699B-414A-8D16-7630F8BDD05E}" type="datetimeFigureOut">
              <a:rPr lang="en-US" smtClean="0"/>
              <a:t>12/22/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5ADF348-2A86-4531-BD4E-BD8C0BBDAD47}" type="slidenum">
              <a:rPr lang="en-US" smtClean="0"/>
              <a:t>‹#›</a:t>
            </a:fld>
            <a:endParaRPr lang="en-US" dirty="0"/>
          </a:p>
        </p:txBody>
      </p:sp>
    </p:spTree>
    <p:extLst>
      <p:ext uri="{BB962C8B-B14F-4D97-AF65-F5344CB8AC3E}">
        <p14:creationId xmlns:p14="http://schemas.microsoft.com/office/powerpoint/2010/main" val="22788769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iartificial.net/ensembles-voting-bagging-boosting-stacking/"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s://www.iartificial.net/ensembles-voting-bagging-boosting-stacking/#Bagging" TargetMode="External"/><Relationship Id="rId4" Type="http://schemas.openxmlformats.org/officeDocument/2006/relationships/hyperlink" Target="https://www.iartificial.net/arboles-de-decision-con-ejemplos-en-python/"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spcAft>
                <a:spcPts val="600"/>
              </a:spcAft>
              <a:buFont typeface="+mj-lt"/>
              <a:buAutoNum type="arabicPeriod"/>
            </a:pPr>
            <a:r>
              <a:rPr lang="es-ES" sz="1200" dirty="0">
                <a:solidFill>
                  <a:srgbClr val="4D4D4D"/>
                </a:solidFill>
              </a:rPr>
              <a:t>Importación de librerías y dataset</a:t>
            </a:r>
          </a:p>
          <a:p>
            <a:pPr marL="228600" indent="-228600">
              <a:spcAft>
                <a:spcPts val="600"/>
              </a:spcAft>
              <a:buFont typeface="+mj-lt"/>
              <a:buAutoNum type="arabicPeriod"/>
            </a:pPr>
            <a:r>
              <a:rPr lang="es-ES" sz="1200" dirty="0">
                <a:solidFill>
                  <a:srgbClr val="4D4D4D"/>
                </a:solidFill>
              </a:rPr>
              <a:t>Estandarización de nombres de las columnas</a:t>
            </a:r>
          </a:p>
          <a:p>
            <a:pPr marL="228600" indent="-228600">
              <a:spcAft>
                <a:spcPts val="600"/>
              </a:spcAft>
              <a:buFont typeface="+mj-lt"/>
              <a:buAutoNum type="arabicPeriod"/>
            </a:pPr>
            <a:r>
              <a:rPr lang="es-ES" sz="1200" dirty="0">
                <a:solidFill>
                  <a:srgbClr val="4D4D4D"/>
                </a:solidFill>
              </a:rPr>
              <a:t>Reemplazo de los </a:t>
            </a:r>
            <a:r>
              <a:rPr lang="es-ES" sz="1200" dirty="0" err="1">
                <a:solidFill>
                  <a:srgbClr val="4D4D4D"/>
                </a:solidFill>
              </a:rPr>
              <a:t>NaN</a:t>
            </a:r>
            <a:r>
              <a:rPr lang="es-ES" sz="1200" dirty="0">
                <a:solidFill>
                  <a:srgbClr val="4D4D4D"/>
                </a:solidFill>
              </a:rPr>
              <a:t> de las siguientes columnas: numero, escalera, piso y puerta</a:t>
            </a:r>
          </a:p>
          <a:p>
            <a:pPr marL="228600" indent="-228600">
              <a:spcAft>
                <a:spcPts val="600"/>
              </a:spcAft>
              <a:buFont typeface="+mj-lt"/>
              <a:buAutoNum type="arabicPeriod"/>
            </a:pPr>
            <a:r>
              <a:rPr lang="es-ES" sz="1200" dirty="0">
                <a:solidFill>
                  <a:srgbClr val="4D4D4D"/>
                </a:solidFill>
              </a:rPr>
              <a:t>Se eliminan valores </a:t>
            </a:r>
            <a:r>
              <a:rPr lang="es-ES" sz="1200" dirty="0" err="1">
                <a:solidFill>
                  <a:srgbClr val="4D4D4D"/>
                </a:solidFill>
              </a:rPr>
              <a:t>NaN</a:t>
            </a:r>
            <a:r>
              <a:rPr lang="es-ES" sz="1200" dirty="0">
                <a:solidFill>
                  <a:srgbClr val="4D4D4D"/>
                </a:solidFill>
              </a:rPr>
              <a:t> de las columnas</a:t>
            </a:r>
          </a:p>
          <a:p>
            <a:pPr marL="228600" indent="-228600">
              <a:spcAft>
                <a:spcPts val="600"/>
              </a:spcAft>
              <a:buFont typeface="+mj-lt"/>
              <a:buAutoNum type="arabicPeriod"/>
            </a:pPr>
            <a:r>
              <a:rPr lang="es-ES" sz="1200" dirty="0">
                <a:solidFill>
                  <a:srgbClr val="4D4D4D"/>
                </a:solidFill>
              </a:rPr>
              <a:t>Sustituimos valores </a:t>
            </a:r>
            <a:r>
              <a:rPr lang="es-ES" sz="1200" dirty="0" err="1">
                <a:solidFill>
                  <a:srgbClr val="4D4D4D"/>
                </a:solidFill>
              </a:rPr>
              <a:t>NaN</a:t>
            </a:r>
            <a:r>
              <a:rPr lang="es-ES" sz="1200" dirty="0">
                <a:solidFill>
                  <a:srgbClr val="4D4D4D"/>
                </a:solidFill>
              </a:rPr>
              <a:t> por la media en las siguientes columnas: </a:t>
            </a:r>
            <a:r>
              <a:rPr lang="es-ES" sz="1200" dirty="0" err="1">
                <a:solidFill>
                  <a:srgbClr val="4D4D4D"/>
                </a:solidFill>
              </a:rPr>
              <a:t>valor_aislamientos</a:t>
            </a:r>
            <a:r>
              <a:rPr lang="es-ES" sz="1200" dirty="0">
                <a:solidFill>
                  <a:srgbClr val="4D4D4D"/>
                </a:solidFill>
              </a:rPr>
              <a:t>, </a:t>
            </a:r>
            <a:r>
              <a:rPr lang="es-ES" sz="1200" dirty="0" err="1">
                <a:solidFill>
                  <a:srgbClr val="4D4D4D"/>
                </a:solidFill>
              </a:rPr>
              <a:t>valor_ventanas</a:t>
            </a:r>
            <a:r>
              <a:rPr lang="es-ES" sz="1200" dirty="0">
                <a:solidFill>
                  <a:srgbClr val="4D4D4D"/>
                </a:solidFill>
              </a:rPr>
              <a:t> y </a:t>
            </a:r>
            <a:r>
              <a:rPr lang="es-ES" sz="1200" dirty="0" err="1">
                <a:solidFill>
                  <a:srgbClr val="4D4D4D"/>
                </a:solidFill>
              </a:rPr>
              <a:t>ventilacion_uso_residencial</a:t>
            </a:r>
            <a:endParaRPr lang="es-ES" sz="1200" dirty="0">
              <a:solidFill>
                <a:srgbClr val="4D4D4D"/>
              </a:solidFill>
            </a:endParaRPr>
          </a:p>
          <a:p>
            <a:pPr>
              <a:buFont typeface="+mj-lt"/>
              <a:buAutoNum type="arabicPeriod" startAt="6"/>
            </a:pPr>
            <a:r>
              <a:rPr lang="es-ES" dirty="0"/>
              <a:t>Arreglamos columnas categóricas</a:t>
            </a:r>
          </a:p>
          <a:p>
            <a:pPr>
              <a:buFont typeface="+mj-lt"/>
              <a:buAutoNum type="arabicPeriod" startAt="6"/>
            </a:pPr>
            <a:r>
              <a:rPr lang="es-ES" dirty="0"/>
              <a:t>Desglosamos el dataset en variables categóricas y numéricas</a:t>
            </a:r>
          </a:p>
          <a:p>
            <a:pPr>
              <a:buFont typeface="+mj-lt"/>
              <a:buAutoNum type="arabicPeriod" startAt="6"/>
            </a:pPr>
            <a:r>
              <a:rPr lang="es-ES" dirty="0"/>
              <a:t>Visualizamos la matriz de correlaciones para detectar posibles correlaciones entre variables numéricas y proceder a desestimarlas</a:t>
            </a:r>
          </a:p>
          <a:p>
            <a:pPr>
              <a:buFont typeface="+mj-lt"/>
              <a:buAutoNum type="arabicPeriod" startAt="6"/>
            </a:pPr>
            <a:r>
              <a:rPr lang="es-ES" dirty="0"/>
              <a:t>Eliminamos los </a:t>
            </a:r>
            <a:r>
              <a:rPr lang="es-ES" dirty="0" err="1"/>
              <a:t>outliers</a:t>
            </a:r>
            <a:r>
              <a:rPr lang="es-ES" dirty="0"/>
              <a:t> del dataset</a:t>
            </a:r>
          </a:p>
          <a:p>
            <a:pPr>
              <a:buFont typeface="+mj-lt"/>
              <a:buAutoNum type="arabicPeriod" startAt="6"/>
            </a:pPr>
            <a:r>
              <a:rPr lang="es-ES" dirty="0"/>
              <a:t>Convertimos el dataset limpio a </a:t>
            </a:r>
            <a:r>
              <a:rPr lang="es-ES" dirty="0" err="1"/>
              <a:t>excel</a:t>
            </a:r>
            <a:r>
              <a:rPr lang="es-ES" dirty="0"/>
              <a:t> para realizar las visualizaciones en PowerBI</a:t>
            </a:r>
          </a:p>
          <a:p>
            <a:pPr>
              <a:buFont typeface="+mj-lt"/>
              <a:buAutoNum type="arabicPeriod" startAt="6"/>
            </a:pPr>
            <a:r>
              <a:rPr lang="es-ES" dirty="0"/>
              <a:t>Entrenamos el modelo y obtenemos el resultado</a:t>
            </a:r>
          </a:p>
          <a:p>
            <a:endParaRPr lang="es-ES" dirty="0"/>
          </a:p>
        </p:txBody>
      </p:sp>
      <p:sp>
        <p:nvSpPr>
          <p:cNvPr id="4" name="Slide Number Placeholder 3"/>
          <p:cNvSpPr>
            <a:spLocks noGrp="1"/>
          </p:cNvSpPr>
          <p:nvPr>
            <p:ph type="sldNum" sz="quarter" idx="5"/>
          </p:nvPr>
        </p:nvSpPr>
        <p:spPr/>
        <p:txBody>
          <a:bodyPr/>
          <a:lstStyle/>
          <a:p>
            <a:fld id="{D5ADF348-2A86-4531-BD4E-BD8C0BBDAD47}" type="slidenum">
              <a:rPr lang="en-US" smtClean="0"/>
              <a:t>5</a:t>
            </a:fld>
            <a:endParaRPr lang="en-US" dirty="0"/>
          </a:p>
        </p:txBody>
      </p:sp>
    </p:spTree>
    <p:extLst>
      <p:ext uri="{BB962C8B-B14F-4D97-AF65-F5344CB8AC3E}">
        <p14:creationId xmlns:p14="http://schemas.microsoft.com/office/powerpoint/2010/main" val="2386828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Climas más cálidos y constantes consumen menos energía</a:t>
            </a:r>
          </a:p>
          <a:p>
            <a:endParaRPr lang="es-ES" dirty="0"/>
          </a:p>
          <a:p>
            <a:endParaRPr lang="es-ES" dirty="0"/>
          </a:p>
        </p:txBody>
      </p:sp>
      <p:sp>
        <p:nvSpPr>
          <p:cNvPr id="4" name="Slide Number Placeholder 3"/>
          <p:cNvSpPr>
            <a:spLocks noGrp="1"/>
          </p:cNvSpPr>
          <p:nvPr>
            <p:ph type="sldNum" sz="quarter" idx="5"/>
          </p:nvPr>
        </p:nvSpPr>
        <p:spPr/>
        <p:txBody>
          <a:bodyPr/>
          <a:lstStyle/>
          <a:p>
            <a:fld id="{D5ADF348-2A86-4531-BD4E-BD8C0BBDAD47}" type="slidenum">
              <a:rPr lang="en-US" smtClean="0"/>
              <a:t>18</a:t>
            </a:fld>
            <a:endParaRPr lang="en-US" dirty="0"/>
          </a:p>
        </p:txBody>
      </p:sp>
    </p:spTree>
    <p:extLst>
      <p:ext uri="{BB962C8B-B14F-4D97-AF65-F5344CB8AC3E}">
        <p14:creationId xmlns:p14="http://schemas.microsoft.com/office/powerpoint/2010/main" val="2597835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D5ADF348-2A86-4531-BD4E-BD8C0BBDAD47}" type="slidenum">
              <a:rPr lang="en-US" smtClean="0"/>
              <a:t>7</a:t>
            </a:fld>
            <a:endParaRPr lang="en-US" dirty="0"/>
          </a:p>
        </p:txBody>
      </p:sp>
    </p:spTree>
    <p:extLst>
      <p:ext uri="{BB962C8B-B14F-4D97-AF65-F5344CB8AC3E}">
        <p14:creationId xmlns:p14="http://schemas.microsoft.com/office/powerpoint/2010/main" val="42717763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Ventilación uso residencial, puntúa 0 a 10</a:t>
            </a:r>
          </a:p>
          <a:p>
            <a:endParaRPr lang="es-ES" dirty="0"/>
          </a:p>
          <a:p>
            <a:pPr>
              <a:lnSpc>
                <a:spcPct val="115000"/>
              </a:lnSpc>
            </a:pPr>
            <a:r>
              <a:rPr lang="es-ES" dirty="0"/>
              <a:t>Zonas climáticas:</a:t>
            </a:r>
          </a:p>
          <a:p>
            <a:pPr>
              <a:lnSpc>
                <a:spcPct val="115000"/>
              </a:lnSpc>
            </a:pPr>
            <a:r>
              <a:rPr lang="es-ES" sz="1800" dirty="0">
                <a:effectLst/>
                <a:latin typeface="Arial" panose="020B0604020202020204" pitchFamily="34" charset="0"/>
                <a:ea typeface="Arial" panose="020B0604020202020204" pitchFamily="34" charset="0"/>
              </a:rPr>
              <a:t>Barcelona-[C2,D2,D1,E1] </a:t>
            </a:r>
            <a:endParaRPr lang="en-US" sz="1800" dirty="0">
              <a:effectLst/>
              <a:latin typeface="Arial" panose="020B0604020202020204" pitchFamily="34" charset="0"/>
              <a:ea typeface="Arial" panose="020B0604020202020204" pitchFamily="34" charset="0"/>
            </a:endParaRPr>
          </a:p>
          <a:p>
            <a:pPr>
              <a:lnSpc>
                <a:spcPct val="115000"/>
              </a:lnSpc>
            </a:pPr>
            <a:r>
              <a:rPr lang="es-ES" sz="1800" dirty="0">
                <a:effectLst/>
                <a:latin typeface="Arial" panose="020B0604020202020204" pitchFamily="34" charset="0"/>
                <a:ea typeface="Arial" panose="020B0604020202020204" pitchFamily="34" charset="0"/>
              </a:rPr>
              <a:t>Girona-[C2,D2,E1]</a:t>
            </a:r>
            <a:endParaRPr lang="en-US" sz="1800" dirty="0">
              <a:effectLst/>
              <a:latin typeface="Arial" panose="020B0604020202020204" pitchFamily="34" charset="0"/>
              <a:ea typeface="Arial" panose="020B0604020202020204" pitchFamily="34" charset="0"/>
            </a:endParaRPr>
          </a:p>
          <a:p>
            <a:pPr>
              <a:lnSpc>
                <a:spcPct val="115000"/>
              </a:lnSpc>
            </a:pPr>
            <a:r>
              <a:rPr lang="es-ES" sz="1800" dirty="0">
                <a:effectLst/>
                <a:latin typeface="Arial" panose="020B0604020202020204" pitchFamily="34" charset="0"/>
                <a:ea typeface="Arial" panose="020B0604020202020204" pitchFamily="34" charset="0"/>
              </a:rPr>
              <a:t>Lleida-[C3,D3,E1]</a:t>
            </a:r>
            <a:endParaRPr lang="en-US" sz="1800" dirty="0">
              <a:effectLst/>
              <a:latin typeface="Arial" panose="020B0604020202020204" pitchFamily="34" charset="0"/>
              <a:ea typeface="Arial" panose="020B0604020202020204" pitchFamily="34" charset="0"/>
            </a:endParaRPr>
          </a:p>
          <a:p>
            <a:r>
              <a:rPr lang="es-ES" sz="1800" dirty="0">
                <a:effectLst/>
                <a:latin typeface="Arial" panose="020B0604020202020204" pitchFamily="34" charset="0"/>
                <a:ea typeface="Arial" panose="020B0604020202020204" pitchFamily="34" charset="0"/>
              </a:rPr>
              <a:t>Tarragona-[B3,C3,D3]</a:t>
            </a:r>
          </a:p>
          <a:p>
            <a:endParaRPr lang="es-ES" sz="1800" dirty="0">
              <a:effectLst/>
              <a:latin typeface="Arial" panose="020B0604020202020204" pitchFamily="34" charset="0"/>
            </a:endParaRPr>
          </a:p>
          <a:p>
            <a:r>
              <a:rPr lang="es-ES" sz="1800" dirty="0">
                <a:effectLst/>
                <a:latin typeface="Arial" panose="020B0604020202020204" pitchFamily="34" charset="0"/>
              </a:rPr>
              <a:t>Emisiones Co2 = kg CO2/m2 x año</a:t>
            </a:r>
          </a:p>
          <a:p>
            <a:endParaRPr lang="es-ES" sz="1800" dirty="0">
              <a:effectLst/>
              <a:latin typeface="Arial" panose="020B0604020202020204" pitchFamily="34" charset="0"/>
            </a:endParaRPr>
          </a:p>
          <a:p>
            <a:r>
              <a:rPr lang="es-ES" sz="1800" dirty="0">
                <a:effectLst/>
                <a:latin typeface="Arial" panose="020B0604020202020204" pitchFamily="34" charset="0"/>
              </a:rPr>
              <a:t>Sistema Biomasa -  SI o NO utiliza un sistema de biomasa (</a:t>
            </a:r>
            <a:r>
              <a:rPr lang="es-ES" b="0" i="0" dirty="0">
                <a:solidFill>
                  <a:srgbClr val="666666"/>
                </a:solidFill>
                <a:effectLst/>
                <a:latin typeface="Arial" panose="020B0604020202020204" pitchFamily="34" charset="0"/>
              </a:rPr>
              <a:t>La biomasa es una energía renovable a base de materia orgánica)</a:t>
            </a:r>
            <a:endParaRPr lang="es-ES" b="0" dirty="0"/>
          </a:p>
        </p:txBody>
      </p:sp>
      <p:sp>
        <p:nvSpPr>
          <p:cNvPr id="4" name="Slide Number Placeholder 3"/>
          <p:cNvSpPr>
            <a:spLocks noGrp="1"/>
          </p:cNvSpPr>
          <p:nvPr>
            <p:ph type="sldNum" sz="quarter" idx="5"/>
          </p:nvPr>
        </p:nvSpPr>
        <p:spPr/>
        <p:txBody>
          <a:bodyPr/>
          <a:lstStyle/>
          <a:p>
            <a:fld id="{D5ADF348-2A86-4531-BD4E-BD8C0BBDAD47}" type="slidenum">
              <a:rPr lang="en-US" smtClean="0"/>
              <a:t>8</a:t>
            </a:fld>
            <a:endParaRPr lang="en-US" dirty="0"/>
          </a:p>
        </p:txBody>
      </p:sp>
    </p:spTree>
    <p:extLst>
      <p:ext uri="{BB962C8B-B14F-4D97-AF65-F5344CB8AC3E}">
        <p14:creationId xmlns:p14="http://schemas.microsoft.com/office/powerpoint/2010/main" val="32379055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D5ADF348-2A86-4531-BD4E-BD8C0BBDAD47}" type="slidenum">
              <a:rPr lang="en-US" smtClean="0"/>
              <a:t>9</a:t>
            </a:fld>
            <a:endParaRPr lang="en-US" dirty="0"/>
          </a:p>
        </p:txBody>
      </p:sp>
    </p:spTree>
    <p:extLst>
      <p:ext uri="{BB962C8B-B14F-4D97-AF65-F5344CB8AC3E}">
        <p14:creationId xmlns:p14="http://schemas.microsoft.com/office/powerpoint/2010/main" val="20047003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D5ADF348-2A86-4531-BD4E-BD8C0BBDAD47}" type="slidenum">
              <a:rPr lang="en-US" smtClean="0"/>
              <a:t>10</a:t>
            </a:fld>
            <a:endParaRPr lang="en-US" dirty="0"/>
          </a:p>
        </p:txBody>
      </p:sp>
    </p:spTree>
    <p:extLst>
      <p:ext uri="{BB962C8B-B14F-4D97-AF65-F5344CB8AC3E}">
        <p14:creationId xmlns:p14="http://schemas.microsoft.com/office/powerpoint/2010/main" val="35203520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A – E severidad climática de invierno</a:t>
            </a:r>
          </a:p>
          <a:p>
            <a:r>
              <a:rPr lang="es-ES" dirty="0"/>
              <a:t>1 – 4 severidad climática en verano</a:t>
            </a:r>
          </a:p>
          <a:p>
            <a:endParaRPr lang="es-ES" dirty="0"/>
          </a:p>
          <a:p>
            <a:r>
              <a:rPr lang="es-ES" dirty="0"/>
              <a:t>En España solo hay 14 combinaciones</a:t>
            </a:r>
          </a:p>
          <a:p>
            <a:r>
              <a:rPr lang="es-ES" dirty="0"/>
              <a:t>a4 b4 c4 a3 b3 c3 d3 c2 d2 c1 d1 e1</a:t>
            </a:r>
          </a:p>
          <a:p>
            <a:endParaRPr lang="es-ES" dirty="0"/>
          </a:p>
          <a:p>
            <a:r>
              <a:rPr lang="es-ES" dirty="0"/>
              <a:t>Severidad climática relaciona los grados/día con la radiación solar acumulada</a:t>
            </a:r>
          </a:p>
          <a:p>
            <a:endParaRPr lang="es-ES" dirty="0"/>
          </a:p>
          <a:p>
            <a:r>
              <a:rPr lang="es-ES" dirty="0"/>
              <a:t>Calificación energética, A </a:t>
            </a:r>
            <a:r>
              <a:rPr lang="es-ES" dirty="0" err="1"/>
              <a:t>a</a:t>
            </a:r>
            <a:r>
              <a:rPr lang="es-ES" dirty="0"/>
              <a:t> G, A siendo la mejor, demanda </a:t>
            </a:r>
            <a:r>
              <a:rPr lang="es-ES" dirty="0" err="1"/>
              <a:t>menis</a:t>
            </a:r>
            <a:r>
              <a:rPr lang="es-ES" dirty="0"/>
              <a:t> de 3.5 kgCO2/m2; G demanda más de 43.2</a:t>
            </a:r>
          </a:p>
        </p:txBody>
      </p:sp>
      <p:sp>
        <p:nvSpPr>
          <p:cNvPr id="4" name="Slide Number Placeholder 3"/>
          <p:cNvSpPr>
            <a:spLocks noGrp="1"/>
          </p:cNvSpPr>
          <p:nvPr>
            <p:ph type="sldNum" sz="quarter" idx="5"/>
          </p:nvPr>
        </p:nvSpPr>
        <p:spPr/>
        <p:txBody>
          <a:bodyPr/>
          <a:lstStyle/>
          <a:p>
            <a:fld id="{D5ADF348-2A86-4531-BD4E-BD8C0BBDAD47}" type="slidenum">
              <a:rPr lang="en-US" smtClean="0"/>
              <a:t>12</a:t>
            </a:fld>
            <a:endParaRPr lang="en-US" dirty="0"/>
          </a:p>
        </p:txBody>
      </p:sp>
    </p:spTree>
    <p:extLst>
      <p:ext uri="{BB962C8B-B14F-4D97-AF65-F5344CB8AC3E}">
        <p14:creationId xmlns:p14="http://schemas.microsoft.com/office/powerpoint/2010/main" val="20472593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A – E severidad climática de invierno</a:t>
            </a:r>
          </a:p>
          <a:p>
            <a:r>
              <a:rPr lang="es-ES" dirty="0"/>
              <a:t>1 – 4 severidad climática en verano</a:t>
            </a:r>
          </a:p>
          <a:p>
            <a:endParaRPr lang="es-ES" dirty="0"/>
          </a:p>
          <a:p>
            <a:r>
              <a:rPr lang="es-ES" dirty="0"/>
              <a:t>En España solo hay 14 combinaciones</a:t>
            </a:r>
          </a:p>
          <a:p>
            <a:r>
              <a:rPr lang="es-ES" dirty="0"/>
              <a:t>a4 b4 c4 a3 b3 c3 d3 c2 d2 c1 d1 e1</a:t>
            </a:r>
          </a:p>
          <a:p>
            <a:endParaRPr lang="es-ES" dirty="0"/>
          </a:p>
          <a:p>
            <a:r>
              <a:rPr lang="es-ES" dirty="0"/>
              <a:t>Severidad climática relaciona los grados/día con la radiación solar acumulada</a:t>
            </a:r>
          </a:p>
          <a:p>
            <a:endParaRPr lang="es-ES" dirty="0"/>
          </a:p>
          <a:p>
            <a:r>
              <a:rPr lang="es-ES" dirty="0"/>
              <a:t>Calificación energética, A </a:t>
            </a:r>
            <a:r>
              <a:rPr lang="es-ES" dirty="0" err="1"/>
              <a:t>a</a:t>
            </a:r>
            <a:r>
              <a:rPr lang="es-ES" dirty="0"/>
              <a:t> G, A siendo la mejor, demanda </a:t>
            </a:r>
            <a:r>
              <a:rPr lang="es-ES" dirty="0" err="1"/>
              <a:t>menis</a:t>
            </a:r>
            <a:r>
              <a:rPr lang="es-ES" dirty="0"/>
              <a:t> de 3.5 kgCO2/m2; G demanda más de 43.2</a:t>
            </a:r>
          </a:p>
        </p:txBody>
      </p:sp>
      <p:sp>
        <p:nvSpPr>
          <p:cNvPr id="4" name="Slide Number Placeholder 3"/>
          <p:cNvSpPr>
            <a:spLocks noGrp="1"/>
          </p:cNvSpPr>
          <p:nvPr>
            <p:ph type="sldNum" sz="quarter" idx="5"/>
          </p:nvPr>
        </p:nvSpPr>
        <p:spPr/>
        <p:txBody>
          <a:bodyPr/>
          <a:lstStyle/>
          <a:p>
            <a:fld id="{D5ADF348-2A86-4531-BD4E-BD8C0BBDAD47}" type="slidenum">
              <a:rPr lang="en-US" smtClean="0"/>
              <a:t>13</a:t>
            </a:fld>
            <a:endParaRPr lang="en-US" dirty="0"/>
          </a:p>
        </p:txBody>
      </p:sp>
    </p:spTree>
    <p:extLst>
      <p:ext uri="{BB962C8B-B14F-4D97-AF65-F5344CB8AC3E}">
        <p14:creationId xmlns:p14="http://schemas.microsoft.com/office/powerpoint/2010/main" val="8333900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A – E severidad climática de invierno</a:t>
            </a:r>
          </a:p>
          <a:p>
            <a:r>
              <a:rPr lang="es-ES" dirty="0"/>
              <a:t>1 – 4 severidad climática en verano</a:t>
            </a:r>
          </a:p>
          <a:p>
            <a:endParaRPr lang="es-ES" dirty="0"/>
          </a:p>
          <a:p>
            <a:r>
              <a:rPr lang="es-ES" dirty="0"/>
              <a:t>En España solo hay 14 combinaciones</a:t>
            </a:r>
          </a:p>
          <a:p>
            <a:r>
              <a:rPr lang="es-ES" dirty="0"/>
              <a:t>a4 b4 c4 a3 b3 c3 d3 c2 d2 c1 d1 e1</a:t>
            </a:r>
          </a:p>
          <a:p>
            <a:endParaRPr lang="es-ES" dirty="0"/>
          </a:p>
          <a:p>
            <a:r>
              <a:rPr lang="es-ES" dirty="0"/>
              <a:t>Severidad climática relaciona los grados/día con la radiación solar acumulada</a:t>
            </a:r>
          </a:p>
          <a:p>
            <a:endParaRPr lang="es-ES" dirty="0"/>
          </a:p>
          <a:p>
            <a:r>
              <a:rPr lang="es-ES" dirty="0"/>
              <a:t>Calificación energética, A </a:t>
            </a:r>
            <a:r>
              <a:rPr lang="es-ES" dirty="0" err="1"/>
              <a:t>a</a:t>
            </a:r>
            <a:r>
              <a:rPr lang="es-ES" dirty="0"/>
              <a:t> G, A siendo la mejor, demanda </a:t>
            </a:r>
            <a:r>
              <a:rPr lang="es-ES" dirty="0" err="1"/>
              <a:t>menis</a:t>
            </a:r>
            <a:r>
              <a:rPr lang="es-ES" dirty="0"/>
              <a:t> de 3.5 kgCO2/m2; G demanda más de 43.2</a:t>
            </a:r>
          </a:p>
        </p:txBody>
      </p:sp>
      <p:sp>
        <p:nvSpPr>
          <p:cNvPr id="4" name="Slide Number Placeholder 3"/>
          <p:cNvSpPr>
            <a:spLocks noGrp="1"/>
          </p:cNvSpPr>
          <p:nvPr>
            <p:ph type="sldNum" sz="quarter" idx="5"/>
          </p:nvPr>
        </p:nvSpPr>
        <p:spPr/>
        <p:txBody>
          <a:bodyPr/>
          <a:lstStyle/>
          <a:p>
            <a:fld id="{D5ADF348-2A86-4531-BD4E-BD8C0BBDAD47}" type="slidenum">
              <a:rPr lang="en-US" smtClean="0"/>
              <a:t>14</a:t>
            </a:fld>
            <a:endParaRPr lang="en-US" dirty="0"/>
          </a:p>
        </p:txBody>
      </p:sp>
    </p:spTree>
    <p:extLst>
      <p:ext uri="{BB962C8B-B14F-4D97-AF65-F5344CB8AC3E}">
        <p14:creationId xmlns:p14="http://schemas.microsoft.com/office/powerpoint/2010/main" val="6781503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s-ES" b="0" i="0" dirty="0">
                <a:solidFill>
                  <a:srgbClr val="222222"/>
                </a:solidFill>
                <a:effectLst/>
                <a:latin typeface="Open Sans" panose="020B0606030504020204" pitchFamily="34" charset="0"/>
              </a:rPr>
              <a:t>Un </a:t>
            </a:r>
            <a:r>
              <a:rPr lang="es-ES" b="1" i="0" dirty="0" err="1">
                <a:solidFill>
                  <a:srgbClr val="222222"/>
                </a:solidFill>
                <a:effectLst/>
                <a:latin typeface="Open Sans" panose="020B0606030504020204" pitchFamily="34" charset="0"/>
              </a:rPr>
              <a:t>Random</a:t>
            </a:r>
            <a:r>
              <a:rPr lang="es-ES" b="1" i="0" dirty="0">
                <a:solidFill>
                  <a:srgbClr val="222222"/>
                </a:solidFill>
                <a:effectLst/>
                <a:latin typeface="Open Sans" panose="020B0606030504020204" pitchFamily="34" charset="0"/>
              </a:rPr>
              <a:t> Forest</a:t>
            </a:r>
            <a:r>
              <a:rPr lang="es-ES" b="0" i="0" dirty="0">
                <a:solidFill>
                  <a:srgbClr val="222222"/>
                </a:solidFill>
                <a:effectLst/>
                <a:latin typeface="Open Sans" panose="020B0606030504020204" pitchFamily="34" charset="0"/>
              </a:rPr>
              <a:t> es un </a:t>
            </a:r>
            <a:r>
              <a:rPr lang="es-ES" b="0" i="0" u="none" strike="noStrike" dirty="0">
                <a:solidFill>
                  <a:srgbClr val="1E72BD"/>
                </a:solidFill>
                <a:effectLst/>
                <a:latin typeface="Open Sans" panose="020B0606030504020204" pitchFamily="34" charset="0"/>
                <a:hlinkClick r:id="rId3"/>
              </a:rPr>
              <a:t>conjunto (</a:t>
            </a:r>
            <a:r>
              <a:rPr lang="es-ES" b="0" i="1" u="none" strike="noStrike" dirty="0">
                <a:solidFill>
                  <a:srgbClr val="1E72BD"/>
                </a:solidFill>
                <a:effectLst/>
                <a:latin typeface="Open Sans" panose="020B0606030504020204" pitchFamily="34" charset="0"/>
                <a:hlinkClick r:id="rId3"/>
              </a:rPr>
              <a:t>ensemble</a:t>
            </a:r>
            <a:r>
              <a:rPr lang="es-ES" b="0" i="0" u="none" strike="noStrike" dirty="0">
                <a:solidFill>
                  <a:srgbClr val="1E72BD"/>
                </a:solidFill>
                <a:effectLst/>
                <a:latin typeface="Open Sans" panose="020B0606030504020204" pitchFamily="34" charset="0"/>
                <a:hlinkClick r:id="rId3"/>
              </a:rPr>
              <a:t>)</a:t>
            </a:r>
            <a:r>
              <a:rPr lang="es-ES" b="0" i="0" dirty="0">
                <a:solidFill>
                  <a:srgbClr val="222222"/>
                </a:solidFill>
                <a:effectLst/>
                <a:latin typeface="Open Sans" panose="020B0606030504020204" pitchFamily="34" charset="0"/>
              </a:rPr>
              <a:t> de </a:t>
            </a:r>
            <a:r>
              <a:rPr lang="es-ES" b="0" i="0" u="none" strike="noStrike" dirty="0">
                <a:solidFill>
                  <a:srgbClr val="1E72BD"/>
                </a:solidFill>
                <a:effectLst/>
                <a:latin typeface="Open Sans" panose="020B0606030504020204" pitchFamily="34" charset="0"/>
                <a:hlinkClick r:id="rId4"/>
              </a:rPr>
              <a:t>árboles de decisión</a:t>
            </a:r>
            <a:r>
              <a:rPr lang="es-ES" b="0" i="0" dirty="0">
                <a:solidFill>
                  <a:srgbClr val="222222"/>
                </a:solidFill>
                <a:effectLst/>
                <a:latin typeface="Open Sans" panose="020B0606030504020204" pitchFamily="34" charset="0"/>
              </a:rPr>
              <a:t> combinados con </a:t>
            </a:r>
            <a:r>
              <a:rPr lang="es-ES" b="0" i="0" u="none" strike="noStrike" dirty="0" err="1">
                <a:solidFill>
                  <a:srgbClr val="1E72BD"/>
                </a:solidFill>
                <a:effectLst/>
                <a:latin typeface="Open Sans" panose="020B0606030504020204" pitchFamily="34" charset="0"/>
                <a:hlinkClick r:id="rId5"/>
              </a:rPr>
              <a:t>bagging</a:t>
            </a:r>
            <a:r>
              <a:rPr lang="es-ES" b="0" i="0" dirty="0">
                <a:solidFill>
                  <a:srgbClr val="222222"/>
                </a:solidFill>
                <a:effectLst/>
                <a:latin typeface="Open Sans" panose="020B0606030504020204" pitchFamily="34" charset="0"/>
              </a:rPr>
              <a:t>. Al usar </a:t>
            </a:r>
            <a:r>
              <a:rPr lang="es-ES" b="0" i="0" dirty="0" err="1">
                <a:solidFill>
                  <a:srgbClr val="222222"/>
                </a:solidFill>
                <a:effectLst/>
                <a:latin typeface="Open Sans" panose="020B0606030504020204" pitchFamily="34" charset="0"/>
              </a:rPr>
              <a:t>bagging</a:t>
            </a:r>
            <a:r>
              <a:rPr lang="es-ES" b="0" i="0" dirty="0">
                <a:solidFill>
                  <a:srgbClr val="222222"/>
                </a:solidFill>
                <a:effectLst/>
                <a:latin typeface="Open Sans" panose="020B0606030504020204" pitchFamily="34" charset="0"/>
              </a:rPr>
              <a:t>, lo que en realidad está pasando, es que distintos árboles ven distintas porciones de los datos. Ningún árbol ve todos los datos de entrenamiento. Esto hace que cada árbol se entrene con distintas muestras de datos para un mismo problema. De esta forma, al combinar sus resultados, unos errores se compensan con otros y tenemos una predicción que generaliza mejor.</a:t>
            </a:r>
          </a:p>
          <a:p>
            <a:pPr algn="l"/>
            <a:endParaRPr lang="es-ES" b="0" i="0" dirty="0">
              <a:solidFill>
                <a:srgbClr val="222222"/>
              </a:solidFill>
              <a:effectLst/>
              <a:latin typeface="Open Sans" panose="020B0606030504020204" pitchFamily="34" charset="0"/>
            </a:endParaRPr>
          </a:p>
          <a:p>
            <a:pPr algn="l"/>
            <a:r>
              <a:rPr lang="es-ES" b="0" i="0" dirty="0">
                <a:solidFill>
                  <a:srgbClr val="222222"/>
                </a:solidFill>
                <a:effectLst/>
                <a:latin typeface="Open Sans" panose="020B0606030504020204" pitchFamily="34" charset="0"/>
              </a:rPr>
              <a:t>R2 = 1- MSE</a:t>
            </a:r>
          </a:p>
          <a:p>
            <a:pPr algn="l"/>
            <a:endParaRPr lang="es-ES" b="0" i="0" dirty="0">
              <a:solidFill>
                <a:srgbClr val="222222"/>
              </a:solidFill>
              <a:effectLst/>
              <a:latin typeface="Open Sans" panose="020B0606030504020204" pitchFamily="34" charset="0"/>
            </a:endParaRPr>
          </a:p>
          <a:p>
            <a:pPr algn="l"/>
            <a:r>
              <a:rPr lang="es-ES" b="1" i="0" dirty="0">
                <a:solidFill>
                  <a:srgbClr val="333333"/>
                </a:solidFill>
                <a:effectLst/>
                <a:latin typeface="Helvetica Neue"/>
              </a:rPr>
              <a:t>Error absoluto medio (MAE):</a:t>
            </a:r>
            <a:r>
              <a:rPr lang="es-ES" b="0" i="0" dirty="0">
                <a:solidFill>
                  <a:srgbClr val="333333"/>
                </a:solidFill>
                <a:effectLst/>
                <a:latin typeface="Helvetica Neue"/>
              </a:rPr>
              <a:t> MAE mide la magnitud promedio de los errores en un conjunto de predicciones, sin considerar su dirección. Es el promedio sobre la muestra de prueba de las diferencias absolutas entre la predicción y la observación real donde todas las diferencias individuales tienen el mismo peso.</a:t>
            </a:r>
            <a:endParaRPr lang="es-ES" b="0" i="0" dirty="0">
              <a:solidFill>
                <a:srgbClr val="222222"/>
              </a:solidFill>
              <a:effectLst/>
              <a:latin typeface="Open Sans" panose="020B0606030504020204" pitchFamily="34" charset="0"/>
            </a:endParaRPr>
          </a:p>
        </p:txBody>
      </p:sp>
      <p:sp>
        <p:nvSpPr>
          <p:cNvPr id="4" name="Slide Number Placeholder 3"/>
          <p:cNvSpPr>
            <a:spLocks noGrp="1"/>
          </p:cNvSpPr>
          <p:nvPr>
            <p:ph type="sldNum" sz="quarter" idx="5"/>
          </p:nvPr>
        </p:nvSpPr>
        <p:spPr/>
        <p:txBody>
          <a:bodyPr/>
          <a:lstStyle/>
          <a:p>
            <a:fld id="{D5ADF348-2A86-4531-BD4E-BD8C0BBDAD47}" type="slidenum">
              <a:rPr lang="en-US" smtClean="0"/>
              <a:t>16</a:t>
            </a:fld>
            <a:endParaRPr lang="en-US" dirty="0"/>
          </a:p>
        </p:txBody>
      </p:sp>
    </p:spTree>
    <p:extLst>
      <p:ext uri="{BB962C8B-B14F-4D97-AF65-F5344CB8AC3E}">
        <p14:creationId xmlns:p14="http://schemas.microsoft.com/office/powerpoint/2010/main" val="23188405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1947BE1-D586-49AE-B2E6-EE426AA239B3}"/>
              </a:ext>
              <a:ext uri="{C183D7F6-B498-43B3-948B-1728B52AA6E4}">
                <adec:decorative xmlns:adec="http://schemas.microsoft.com/office/drawing/2017/decorative" val="1"/>
              </a:ext>
            </a:extLst>
          </p:cNvPr>
          <p:cNvSpPr/>
          <p:nvPr userDrawn="1"/>
        </p:nvSpPr>
        <p:spPr>
          <a:xfrm>
            <a:off x="0" y="0"/>
            <a:ext cx="7532914"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CA4C316E-D918-422D-AC5F-D93C59AB674F}"/>
              </a:ext>
            </a:extLst>
          </p:cNvPr>
          <p:cNvSpPr>
            <a:spLocks noGrp="1"/>
          </p:cNvSpPr>
          <p:nvPr>
            <p:ph type="title" hasCustomPrompt="1"/>
          </p:nvPr>
        </p:nvSpPr>
        <p:spPr>
          <a:xfrm>
            <a:off x="640078" y="627016"/>
            <a:ext cx="6389027" cy="5601790"/>
          </a:xfrm>
        </p:spPr>
        <p:txBody>
          <a:bodyPr>
            <a:noAutofit/>
          </a:bodyPr>
          <a:lstStyle>
            <a:lvl1pPr algn="r">
              <a:lnSpc>
                <a:spcPct val="101000"/>
              </a:lnSpc>
              <a:spcBef>
                <a:spcPts val="700"/>
              </a:spcBef>
              <a:spcAft>
                <a:spcPts val="700"/>
              </a:spcAft>
              <a:defRPr sz="8000" baseline="0"/>
            </a:lvl1pPr>
          </a:lstStyle>
          <a:p>
            <a:r>
              <a:rPr lang="en-US" dirty="0"/>
              <a:t>Click to edit Master TEXT style</a:t>
            </a:r>
          </a:p>
        </p:txBody>
      </p:sp>
      <p:sp>
        <p:nvSpPr>
          <p:cNvPr id="12" name="Text Placeholder 11">
            <a:extLst>
              <a:ext uri="{FF2B5EF4-FFF2-40B4-BE49-F238E27FC236}">
                <a16:creationId xmlns:a16="http://schemas.microsoft.com/office/drawing/2014/main" id="{4B4012DC-9879-489B-B525-C474C5DD299D}"/>
              </a:ext>
            </a:extLst>
          </p:cNvPr>
          <p:cNvSpPr>
            <a:spLocks noGrp="1"/>
          </p:cNvSpPr>
          <p:nvPr>
            <p:ph type="body" sz="quarter" idx="11"/>
          </p:nvPr>
        </p:nvSpPr>
        <p:spPr>
          <a:xfrm>
            <a:off x="8029797" y="627016"/>
            <a:ext cx="3199034" cy="5590903"/>
          </a:xfrm>
        </p:spPr>
        <p:txBody>
          <a:bodyPr anchor="ctr">
            <a:normAutofit/>
          </a:bodyPr>
          <a:lstStyle>
            <a:lvl1pPr>
              <a:defRPr lang="en-US" sz="2600" kern="1200" spc="50" baseline="0" dirty="0" smtClean="0">
                <a:solidFill>
                  <a:schemeClr val="tx1"/>
                </a:solidFill>
                <a:latin typeface="+mn-lt"/>
                <a:ea typeface="+mn-ea"/>
                <a:cs typeface="Calibri"/>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23140516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ummary">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D984A150-581C-4608-9034-48767311A65F}"/>
              </a:ext>
              <a:ext uri="{C183D7F6-B498-43B3-948B-1728B52AA6E4}">
                <adec:decorative xmlns:adec="http://schemas.microsoft.com/office/drawing/2017/decorative" val="1"/>
              </a:ext>
            </a:extLst>
          </p:cNvPr>
          <p:cNvSpPr/>
          <p:nvPr userDrawn="1"/>
        </p:nvSpPr>
        <p:spPr>
          <a:xfrm>
            <a:off x="0" y="0"/>
            <a:ext cx="609447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9DF7571-A130-4054-9513-4BDAC9AE5360}"/>
              </a:ext>
            </a:extLst>
          </p:cNvPr>
          <p:cNvSpPr>
            <a:spLocks noGrp="1"/>
          </p:cNvSpPr>
          <p:nvPr>
            <p:ph type="title"/>
          </p:nvPr>
        </p:nvSpPr>
        <p:spPr>
          <a:xfrm>
            <a:off x="771830" y="635000"/>
            <a:ext cx="5171770" cy="2039374"/>
          </a:xfrm>
        </p:spPr>
        <p:txBody>
          <a:bodyPr anchor="b">
            <a:noAutofit/>
          </a:bodyPr>
          <a:lstStyle>
            <a:lvl1pPr>
              <a:lnSpc>
                <a:spcPct val="101000"/>
              </a:lnSpc>
              <a:spcBef>
                <a:spcPts val="700"/>
              </a:spcBef>
              <a:spcAft>
                <a:spcPts val="700"/>
              </a:spcAft>
              <a:defRPr sz="6600" baseline="0"/>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DCA27FA5-F6EE-4784-AC43-76381FC2CD94}"/>
              </a:ext>
            </a:extLst>
          </p:cNvPr>
          <p:cNvSpPr>
            <a:spLocks noGrp="1"/>
          </p:cNvSpPr>
          <p:nvPr>
            <p:ph type="body" sz="quarter" idx="18"/>
          </p:nvPr>
        </p:nvSpPr>
        <p:spPr>
          <a:xfrm>
            <a:off x="761998" y="2911475"/>
            <a:ext cx="4500563" cy="3311525"/>
          </a:xfrm>
        </p:spPr>
        <p:txBody>
          <a:bodyPr>
            <a:normAutofit/>
          </a:bodyPr>
          <a:lstStyle>
            <a:lvl1pPr>
              <a:defRPr lang="en-US" sz="2200" kern="1200" spc="50" baseline="0" dirty="0" smtClean="0">
                <a:solidFill>
                  <a:schemeClr val="bg1"/>
                </a:solidFill>
                <a:latin typeface="+mn-lt"/>
                <a:ea typeface="+mn-ea"/>
                <a:cs typeface="+mn-cs"/>
              </a:defRPr>
            </a:lvl1pPr>
          </a:lstStyle>
          <a:p>
            <a:pPr lvl="0"/>
            <a:r>
              <a:rPr lang="en-US"/>
              <a:t>Click to edit Master text styles</a:t>
            </a:r>
          </a:p>
        </p:txBody>
      </p:sp>
      <p:sp>
        <p:nvSpPr>
          <p:cNvPr id="6" name="Footer Placeholder 5">
            <a:extLst>
              <a:ext uri="{FF2B5EF4-FFF2-40B4-BE49-F238E27FC236}">
                <a16:creationId xmlns:a16="http://schemas.microsoft.com/office/drawing/2014/main" id="{66E63FF0-1A91-4698-B12A-112D05373593}"/>
              </a:ext>
            </a:extLst>
          </p:cNvPr>
          <p:cNvSpPr>
            <a:spLocks noGrp="1"/>
          </p:cNvSpPr>
          <p:nvPr>
            <p:ph type="ftr" sz="quarter" idx="11"/>
          </p:nvPr>
        </p:nvSpPr>
        <p:spPr/>
        <p:txBody>
          <a:bodyPr/>
          <a:lstStyle>
            <a:lvl1pPr>
              <a:defRPr>
                <a:solidFill>
                  <a:schemeClr val="bg1"/>
                </a:solidFill>
              </a:defRPr>
            </a:lvl1pPr>
          </a:lstStyle>
          <a:p>
            <a:r>
              <a:rPr lang="en-US" dirty="0"/>
              <a:t>Sample Footer Text</a:t>
            </a:r>
          </a:p>
        </p:txBody>
      </p:sp>
      <p:sp>
        <p:nvSpPr>
          <p:cNvPr id="14" name="Picture Placeholder 13">
            <a:extLst>
              <a:ext uri="{FF2B5EF4-FFF2-40B4-BE49-F238E27FC236}">
                <a16:creationId xmlns:a16="http://schemas.microsoft.com/office/drawing/2014/main" id="{7094F8F4-63E4-4A00-8F98-09219DA987A3}"/>
              </a:ext>
            </a:extLst>
          </p:cNvPr>
          <p:cNvSpPr>
            <a:spLocks noGrp="1"/>
          </p:cNvSpPr>
          <p:nvPr>
            <p:ph type="pic" sz="quarter" idx="13"/>
          </p:nvPr>
        </p:nvSpPr>
        <p:spPr>
          <a:xfrm>
            <a:off x="6742113" y="639763"/>
            <a:ext cx="2198687" cy="2546350"/>
          </a:xfrm>
        </p:spPr>
        <p:txBody>
          <a:bodyPr/>
          <a:lstStyle/>
          <a:p>
            <a:r>
              <a:rPr lang="en-US"/>
              <a:t>Click icon to add picture</a:t>
            </a:r>
            <a:endParaRPr lang="en-US" dirty="0"/>
          </a:p>
        </p:txBody>
      </p:sp>
      <p:sp>
        <p:nvSpPr>
          <p:cNvPr id="16" name="Picture Placeholder 15">
            <a:extLst>
              <a:ext uri="{FF2B5EF4-FFF2-40B4-BE49-F238E27FC236}">
                <a16:creationId xmlns:a16="http://schemas.microsoft.com/office/drawing/2014/main" id="{B34D9F00-72E9-433A-9427-8DA07653B252}"/>
              </a:ext>
            </a:extLst>
          </p:cNvPr>
          <p:cNvSpPr>
            <a:spLocks noGrp="1"/>
          </p:cNvSpPr>
          <p:nvPr>
            <p:ph type="pic" sz="quarter" idx="14"/>
          </p:nvPr>
        </p:nvSpPr>
        <p:spPr>
          <a:xfrm>
            <a:off x="9337675" y="638175"/>
            <a:ext cx="2198688" cy="2546350"/>
          </a:xfrm>
        </p:spPr>
        <p:txBody>
          <a:bodyPr/>
          <a:lstStyle/>
          <a:p>
            <a:r>
              <a:rPr lang="en-US"/>
              <a:t>Click icon to add picture</a:t>
            </a:r>
            <a:endParaRPr lang="en-US" dirty="0"/>
          </a:p>
        </p:txBody>
      </p:sp>
      <p:sp>
        <p:nvSpPr>
          <p:cNvPr id="18" name="Picture Placeholder 17">
            <a:extLst>
              <a:ext uri="{FF2B5EF4-FFF2-40B4-BE49-F238E27FC236}">
                <a16:creationId xmlns:a16="http://schemas.microsoft.com/office/drawing/2014/main" id="{1AD0C148-B6DB-4D32-B139-403A6AEC3DDF}"/>
              </a:ext>
            </a:extLst>
          </p:cNvPr>
          <p:cNvSpPr>
            <a:spLocks noGrp="1"/>
          </p:cNvSpPr>
          <p:nvPr>
            <p:ph type="pic" sz="quarter" idx="15"/>
          </p:nvPr>
        </p:nvSpPr>
        <p:spPr>
          <a:xfrm>
            <a:off x="6742113" y="3668713"/>
            <a:ext cx="2198687" cy="2554287"/>
          </a:xfrm>
        </p:spPr>
        <p:txBody>
          <a:bodyPr/>
          <a:lstStyle/>
          <a:p>
            <a:r>
              <a:rPr lang="en-US"/>
              <a:t>Click icon to add picture</a:t>
            </a:r>
            <a:endParaRPr lang="en-US" dirty="0"/>
          </a:p>
        </p:txBody>
      </p:sp>
      <p:sp>
        <p:nvSpPr>
          <p:cNvPr id="20" name="Picture Placeholder 19">
            <a:extLst>
              <a:ext uri="{FF2B5EF4-FFF2-40B4-BE49-F238E27FC236}">
                <a16:creationId xmlns:a16="http://schemas.microsoft.com/office/drawing/2014/main" id="{D9D424B8-9E08-469D-88C8-019306CA382E}"/>
              </a:ext>
            </a:extLst>
          </p:cNvPr>
          <p:cNvSpPr>
            <a:spLocks noGrp="1"/>
          </p:cNvSpPr>
          <p:nvPr>
            <p:ph type="pic" sz="quarter" idx="16"/>
          </p:nvPr>
        </p:nvSpPr>
        <p:spPr>
          <a:xfrm>
            <a:off x="9337675" y="3668713"/>
            <a:ext cx="2198688" cy="2546350"/>
          </a:xfrm>
        </p:spPr>
        <p:txBody>
          <a:bodyPr/>
          <a:lstStyle/>
          <a:p>
            <a:r>
              <a:rPr lang="en-US"/>
              <a:t>Click icon to add picture</a:t>
            </a:r>
            <a:endParaRPr lang="en-US" dirty="0"/>
          </a:p>
        </p:txBody>
      </p:sp>
      <p:sp>
        <p:nvSpPr>
          <p:cNvPr id="5" name="Date Placeholder 4">
            <a:extLst>
              <a:ext uri="{FF2B5EF4-FFF2-40B4-BE49-F238E27FC236}">
                <a16:creationId xmlns:a16="http://schemas.microsoft.com/office/drawing/2014/main" id="{FC0A8DC1-14F6-453B-A724-D6493F063F83}"/>
              </a:ext>
            </a:extLst>
          </p:cNvPr>
          <p:cNvSpPr>
            <a:spLocks noGrp="1"/>
          </p:cNvSpPr>
          <p:nvPr>
            <p:ph type="dt" sz="half" idx="10"/>
          </p:nvPr>
        </p:nvSpPr>
        <p:spPr/>
        <p:txBody>
          <a:bodyPr/>
          <a:lstStyle>
            <a:lvl1pPr>
              <a:defRPr/>
            </a:lvl1pPr>
          </a:lstStyle>
          <a:p>
            <a:r>
              <a:rPr lang="en-US" dirty="0"/>
              <a:t>20XX</a:t>
            </a:r>
          </a:p>
        </p:txBody>
      </p:sp>
      <p:sp>
        <p:nvSpPr>
          <p:cNvPr id="7" name="Slide Number Placeholder 6">
            <a:extLst>
              <a:ext uri="{FF2B5EF4-FFF2-40B4-BE49-F238E27FC236}">
                <a16:creationId xmlns:a16="http://schemas.microsoft.com/office/drawing/2014/main" id="{1E066D53-44B3-4F04-93FD-9756A60139F9}"/>
              </a:ext>
            </a:extLst>
          </p:cNvPr>
          <p:cNvSpPr>
            <a:spLocks noGrp="1"/>
          </p:cNvSpPr>
          <p:nvPr>
            <p:ph type="sldNum" sz="quarter" idx="12"/>
          </p:nvPr>
        </p:nvSpPr>
        <p:spPr/>
        <p:txBody>
          <a:bodyPr/>
          <a:lstStyle/>
          <a:p>
            <a:fld id="{294A09A9-5501-47C1-A89A-A340965A2BE2}" type="slidenum">
              <a:rPr lang="en-US" smtClean="0"/>
              <a:t>‹#›</a:t>
            </a:fld>
            <a:endParaRPr lang="en-US" dirty="0"/>
          </a:p>
        </p:txBody>
      </p:sp>
    </p:spTree>
    <p:extLst>
      <p:ext uri="{BB962C8B-B14F-4D97-AF65-F5344CB8AC3E}">
        <p14:creationId xmlns:p14="http://schemas.microsoft.com/office/powerpoint/2010/main" val="10549257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9D15A25-1111-478B-8F77-D992652C71C2}"/>
              </a:ext>
              <a:ext uri="{C183D7F6-B498-43B3-948B-1728B52AA6E4}">
                <adec:decorative xmlns:adec="http://schemas.microsoft.com/office/drawing/2017/decorative" val="1"/>
              </a:ext>
            </a:extLst>
          </p:cNvPr>
          <p:cNvSpPr/>
          <p:nvPr userDrawn="1"/>
        </p:nvSpPr>
        <p:spPr>
          <a:xfrm>
            <a:off x="3990108" y="1225106"/>
            <a:ext cx="8201891" cy="395180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4066A3D1-C594-4520-A142-F0D3F59C5F3E}"/>
              </a:ext>
            </a:extLst>
          </p:cNvPr>
          <p:cNvSpPr>
            <a:spLocks noGrp="1"/>
          </p:cNvSpPr>
          <p:nvPr>
            <p:ph type="title"/>
          </p:nvPr>
        </p:nvSpPr>
        <p:spPr>
          <a:xfrm>
            <a:off x="4555193" y="3036762"/>
            <a:ext cx="7136064" cy="1700784"/>
          </a:xfrm>
        </p:spPr>
        <p:txBody>
          <a:bodyPr/>
          <a:lstStyle>
            <a:lvl1pPr>
              <a:lnSpc>
                <a:spcPct val="101000"/>
              </a:lnSpc>
              <a:spcBef>
                <a:spcPts val="700"/>
              </a:spcBef>
              <a:spcAft>
                <a:spcPts val="700"/>
              </a:spcAft>
              <a:defRPr baseline="0"/>
            </a:lvl1pPr>
          </a:lstStyle>
          <a:p>
            <a:r>
              <a:rPr lang="en-US"/>
              <a:t>Click to edit Master title style</a:t>
            </a:r>
            <a:endParaRPr lang="en-US" dirty="0"/>
          </a:p>
        </p:txBody>
      </p:sp>
      <p:sp>
        <p:nvSpPr>
          <p:cNvPr id="16" name="Picture Placeholder 15">
            <a:extLst>
              <a:ext uri="{FF2B5EF4-FFF2-40B4-BE49-F238E27FC236}">
                <a16:creationId xmlns:a16="http://schemas.microsoft.com/office/drawing/2014/main" id="{42FBE291-E88A-44C5-884C-183EE7F67EE3}"/>
              </a:ext>
            </a:extLst>
          </p:cNvPr>
          <p:cNvSpPr>
            <a:spLocks noGrp="1"/>
          </p:cNvSpPr>
          <p:nvPr>
            <p:ph type="pic" sz="quarter" idx="15"/>
          </p:nvPr>
        </p:nvSpPr>
        <p:spPr>
          <a:xfrm>
            <a:off x="-12804" y="1225484"/>
            <a:ext cx="4059934" cy="3951807"/>
          </a:xfrm>
        </p:spPr>
        <p:txBody>
          <a:bodyPr/>
          <a:lstStyle/>
          <a:p>
            <a:r>
              <a:rPr lang="en-US"/>
              <a:t>Click icon to add picture</a:t>
            </a:r>
            <a:endParaRPr lang="en-US" dirty="0"/>
          </a:p>
        </p:txBody>
      </p:sp>
      <p:sp>
        <p:nvSpPr>
          <p:cNvPr id="7" name="Content Placeholder 2">
            <a:extLst>
              <a:ext uri="{FF2B5EF4-FFF2-40B4-BE49-F238E27FC236}">
                <a16:creationId xmlns:a16="http://schemas.microsoft.com/office/drawing/2014/main" id="{51FF791A-8D73-49AD-8569-7F4FE14648E6}"/>
              </a:ext>
            </a:extLst>
          </p:cNvPr>
          <p:cNvSpPr>
            <a:spLocks noGrp="1"/>
          </p:cNvSpPr>
          <p:nvPr>
            <p:ph idx="1"/>
          </p:nvPr>
        </p:nvSpPr>
        <p:spPr>
          <a:xfrm>
            <a:off x="4547779" y="5355583"/>
            <a:ext cx="2270162" cy="577153"/>
          </a:xfrm>
        </p:spPr>
        <p:txBody>
          <a:bodyPr>
            <a:normAutofit/>
          </a:bodyPr>
          <a:lstStyle>
            <a:lvl1pPr>
              <a:defRPr sz="1600">
                <a:solidFill>
                  <a:schemeClr val="tx1"/>
                </a:solidFill>
              </a:defRPr>
            </a:lvl1pPr>
          </a:lstStyle>
          <a:p>
            <a:pPr lvl="0"/>
            <a:r>
              <a:rPr lang="en-US">
                <a:cs typeface="Calibri"/>
              </a:rPr>
              <a:t>Click to edit Master text styles</a:t>
            </a:r>
          </a:p>
        </p:txBody>
      </p:sp>
      <p:sp>
        <p:nvSpPr>
          <p:cNvPr id="13" name="Content Placeholder 2">
            <a:extLst>
              <a:ext uri="{FF2B5EF4-FFF2-40B4-BE49-F238E27FC236}">
                <a16:creationId xmlns:a16="http://schemas.microsoft.com/office/drawing/2014/main" id="{C16F6145-A1AE-4CDA-AE26-E8FDEFAAB395}"/>
              </a:ext>
            </a:extLst>
          </p:cNvPr>
          <p:cNvSpPr>
            <a:spLocks noGrp="1"/>
          </p:cNvSpPr>
          <p:nvPr>
            <p:ph idx="16"/>
          </p:nvPr>
        </p:nvSpPr>
        <p:spPr>
          <a:xfrm>
            <a:off x="6984437" y="5355583"/>
            <a:ext cx="2270162" cy="577153"/>
          </a:xfrm>
        </p:spPr>
        <p:txBody>
          <a:bodyPr>
            <a:normAutofit/>
          </a:bodyPr>
          <a:lstStyle>
            <a:lvl1pPr>
              <a:defRPr sz="1600">
                <a:solidFill>
                  <a:schemeClr val="tx1"/>
                </a:solidFill>
              </a:defRPr>
            </a:lvl1pPr>
          </a:lstStyle>
          <a:p>
            <a:pPr lvl="0"/>
            <a:r>
              <a:rPr lang="en-US">
                <a:cs typeface="Calibri"/>
              </a:rPr>
              <a:t>Click to edit Master text styles</a:t>
            </a:r>
          </a:p>
        </p:txBody>
      </p:sp>
      <p:sp>
        <p:nvSpPr>
          <p:cNvPr id="15" name="Content Placeholder 2">
            <a:extLst>
              <a:ext uri="{FF2B5EF4-FFF2-40B4-BE49-F238E27FC236}">
                <a16:creationId xmlns:a16="http://schemas.microsoft.com/office/drawing/2014/main" id="{3FDD02FA-6843-4E54-ACDC-AFEAFB4EFAA9}"/>
              </a:ext>
            </a:extLst>
          </p:cNvPr>
          <p:cNvSpPr>
            <a:spLocks noGrp="1"/>
          </p:cNvSpPr>
          <p:nvPr>
            <p:ph idx="17"/>
          </p:nvPr>
        </p:nvSpPr>
        <p:spPr>
          <a:xfrm>
            <a:off x="9421095" y="5355583"/>
            <a:ext cx="2270162" cy="577153"/>
          </a:xfrm>
        </p:spPr>
        <p:txBody>
          <a:bodyPr>
            <a:normAutofit/>
          </a:bodyPr>
          <a:lstStyle>
            <a:lvl1pPr>
              <a:defRPr sz="1600">
                <a:solidFill>
                  <a:schemeClr val="tx1"/>
                </a:solidFill>
              </a:defRPr>
            </a:lvl1pPr>
          </a:lstStyle>
          <a:p>
            <a:pPr lvl="0"/>
            <a:r>
              <a:rPr lang="en-US">
                <a:cs typeface="Calibri"/>
              </a:rPr>
              <a:t>Click to edit Master text styles</a:t>
            </a:r>
          </a:p>
        </p:txBody>
      </p:sp>
      <p:sp>
        <p:nvSpPr>
          <p:cNvPr id="4" name="Footer Placeholder 3">
            <a:extLst>
              <a:ext uri="{FF2B5EF4-FFF2-40B4-BE49-F238E27FC236}">
                <a16:creationId xmlns:a16="http://schemas.microsoft.com/office/drawing/2014/main" id="{B9B99AED-D702-41BF-B21E-9BFB06308223}"/>
              </a:ext>
            </a:extLst>
          </p:cNvPr>
          <p:cNvSpPr>
            <a:spLocks noGrp="1"/>
          </p:cNvSpPr>
          <p:nvPr>
            <p:ph type="ftr" sz="quarter" idx="11"/>
          </p:nvPr>
        </p:nvSpPr>
        <p:spPr>
          <a:xfrm>
            <a:off x="960120" y="6356350"/>
            <a:ext cx="3405051" cy="365125"/>
          </a:xfrm>
        </p:spPr>
        <p:txBody>
          <a:bodyPr/>
          <a:lstStyle/>
          <a:p>
            <a:r>
              <a:rPr lang="en-US" dirty="0"/>
              <a:t>Sample Footer Text</a:t>
            </a:r>
          </a:p>
        </p:txBody>
      </p:sp>
      <p:sp>
        <p:nvSpPr>
          <p:cNvPr id="3" name="Date Placeholder 2">
            <a:extLst>
              <a:ext uri="{FF2B5EF4-FFF2-40B4-BE49-F238E27FC236}">
                <a16:creationId xmlns:a16="http://schemas.microsoft.com/office/drawing/2014/main" id="{2674C4BB-67B0-4BF7-A7D4-4222652EDB8C}"/>
              </a:ext>
            </a:extLst>
          </p:cNvPr>
          <p:cNvSpPr>
            <a:spLocks noGrp="1"/>
          </p:cNvSpPr>
          <p:nvPr>
            <p:ph type="dt" sz="half" idx="10"/>
          </p:nvPr>
        </p:nvSpPr>
        <p:spPr>
          <a:xfrm>
            <a:off x="4477512" y="6356350"/>
            <a:ext cx="3236976" cy="365125"/>
          </a:xfrm>
        </p:spPr>
        <p:txBody>
          <a:bodyPr/>
          <a:lstStyle>
            <a:lvl1pPr algn="ctr">
              <a:defRPr/>
            </a:lvl1pPr>
          </a:lstStyle>
          <a:p>
            <a:r>
              <a:rPr lang="en-US" dirty="0"/>
              <a:t>20XX</a:t>
            </a:r>
          </a:p>
        </p:txBody>
      </p:sp>
      <p:sp>
        <p:nvSpPr>
          <p:cNvPr id="5" name="Slide Number Placeholder 4">
            <a:extLst>
              <a:ext uri="{FF2B5EF4-FFF2-40B4-BE49-F238E27FC236}">
                <a16:creationId xmlns:a16="http://schemas.microsoft.com/office/drawing/2014/main" id="{4952C385-1FC3-453C-952E-8DDB1B052FF8}"/>
              </a:ext>
            </a:extLst>
          </p:cNvPr>
          <p:cNvSpPr>
            <a:spLocks noGrp="1"/>
          </p:cNvSpPr>
          <p:nvPr>
            <p:ph type="sldNum" sz="quarter" idx="12"/>
          </p:nvPr>
        </p:nvSpPr>
        <p:spPr/>
        <p:txBody>
          <a:bodyPr/>
          <a:lstStyle/>
          <a:p>
            <a:fld id="{294A09A9-5501-47C1-A89A-A340965A2BE2}" type="slidenum">
              <a:rPr lang="en-US" smtClean="0"/>
              <a:t>‹#›</a:t>
            </a:fld>
            <a:endParaRPr lang="en-US" dirty="0"/>
          </a:p>
        </p:txBody>
      </p:sp>
    </p:spTree>
    <p:extLst>
      <p:ext uri="{BB962C8B-B14F-4D97-AF65-F5344CB8AC3E}">
        <p14:creationId xmlns:p14="http://schemas.microsoft.com/office/powerpoint/2010/main" val="31582454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9D15A25-1111-478B-8F77-D992652C71C2}"/>
              </a:ext>
              <a:ext uri="{C183D7F6-B498-43B3-948B-1728B52AA6E4}">
                <adec:decorative xmlns:adec="http://schemas.microsoft.com/office/drawing/2017/decorative" val="1"/>
              </a:ext>
            </a:extLst>
          </p:cNvPr>
          <p:cNvSpPr/>
          <p:nvPr userDrawn="1"/>
        </p:nvSpPr>
        <p:spPr>
          <a:xfrm>
            <a:off x="0" y="2264985"/>
            <a:ext cx="5297764" cy="395218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C693472D-332A-4010-9FEA-8E1E9AE7E18F}"/>
              </a:ext>
            </a:extLst>
          </p:cNvPr>
          <p:cNvSpPr>
            <a:spLocks noGrp="1"/>
          </p:cNvSpPr>
          <p:nvPr>
            <p:ph type="title" hasCustomPrompt="1"/>
          </p:nvPr>
        </p:nvSpPr>
        <p:spPr>
          <a:xfrm>
            <a:off x="966213" y="336958"/>
            <a:ext cx="10616187" cy="1700784"/>
          </a:xfrm>
        </p:spPr>
        <p:txBody>
          <a:bodyPr/>
          <a:lstStyle>
            <a:lvl1pPr>
              <a:lnSpc>
                <a:spcPct val="101000"/>
              </a:lnSpc>
              <a:spcBef>
                <a:spcPts val="700"/>
              </a:spcBef>
              <a:spcAft>
                <a:spcPts val="700"/>
              </a:spcAft>
              <a:defRPr baseline="0">
                <a:solidFill>
                  <a:schemeClr val="tx1"/>
                </a:solidFill>
              </a:defRPr>
            </a:lvl1pPr>
          </a:lstStyle>
          <a:p>
            <a:r>
              <a:rPr lang="en-US" dirty="0"/>
              <a:t>Click to edit Master TEXT</a:t>
            </a:r>
          </a:p>
        </p:txBody>
      </p:sp>
      <p:sp>
        <p:nvSpPr>
          <p:cNvPr id="7" name="Content Placeholder 2">
            <a:extLst>
              <a:ext uri="{FF2B5EF4-FFF2-40B4-BE49-F238E27FC236}">
                <a16:creationId xmlns:a16="http://schemas.microsoft.com/office/drawing/2014/main" id="{51FF791A-8D73-49AD-8569-7F4FE14648E6}"/>
              </a:ext>
            </a:extLst>
          </p:cNvPr>
          <p:cNvSpPr>
            <a:spLocks noGrp="1"/>
          </p:cNvSpPr>
          <p:nvPr>
            <p:ph idx="1" hasCustomPrompt="1"/>
          </p:nvPr>
        </p:nvSpPr>
        <p:spPr>
          <a:xfrm>
            <a:off x="960120" y="2587752"/>
            <a:ext cx="3694176" cy="3258102"/>
          </a:xfrm>
        </p:spPr>
        <p:txBody>
          <a:bodyPr>
            <a:normAutofit/>
          </a:bodyPr>
          <a:lstStyle>
            <a:lvl1pPr>
              <a:defRPr>
                <a:solidFill>
                  <a:schemeClr val="bg1"/>
                </a:solidFill>
              </a:defRPr>
            </a:lvl1pPr>
          </a:lstStyle>
          <a:p>
            <a:r>
              <a:rPr lang="en-US" dirty="0">
                <a:cs typeface="Calibri"/>
              </a:rPr>
              <a:t>Click to edit master text style</a:t>
            </a:r>
          </a:p>
          <a:p>
            <a:endParaRPr lang="en-US" dirty="0">
              <a:cs typeface="Calibri"/>
            </a:endParaRPr>
          </a:p>
        </p:txBody>
      </p:sp>
      <p:sp>
        <p:nvSpPr>
          <p:cNvPr id="14" name="Picture Placeholder 13">
            <a:extLst>
              <a:ext uri="{FF2B5EF4-FFF2-40B4-BE49-F238E27FC236}">
                <a16:creationId xmlns:a16="http://schemas.microsoft.com/office/drawing/2014/main" id="{69D1BED5-2D39-40ED-92F5-CF06BE8A759C}"/>
              </a:ext>
            </a:extLst>
          </p:cNvPr>
          <p:cNvSpPr>
            <a:spLocks noGrp="1"/>
          </p:cNvSpPr>
          <p:nvPr>
            <p:ph type="pic" sz="quarter" idx="14"/>
          </p:nvPr>
        </p:nvSpPr>
        <p:spPr>
          <a:xfrm>
            <a:off x="5297764" y="2265363"/>
            <a:ext cx="3479524" cy="3951287"/>
          </a:xfrm>
        </p:spPr>
        <p:txBody>
          <a:bodyPr/>
          <a:lstStyle/>
          <a:p>
            <a:r>
              <a:rPr lang="en-US"/>
              <a:t>Click icon to add picture</a:t>
            </a:r>
            <a:endParaRPr lang="en-US" dirty="0"/>
          </a:p>
        </p:txBody>
      </p:sp>
      <p:sp>
        <p:nvSpPr>
          <p:cNvPr id="16" name="Picture Placeholder 15">
            <a:extLst>
              <a:ext uri="{FF2B5EF4-FFF2-40B4-BE49-F238E27FC236}">
                <a16:creationId xmlns:a16="http://schemas.microsoft.com/office/drawing/2014/main" id="{42FBE291-E88A-44C5-884C-183EE7F67EE3}"/>
              </a:ext>
            </a:extLst>
          </p:cNvPr>
          <p:cNvSpPr>
            <a:spLocks noGrp="1"/>
          </p:cNvSpPr>
          <p:nvPr>
            <p:ph type="pic" sz="quarter" idx="15"/>
          </p:nvPr>
        </p:nvSpPr>
        <p:spPr>
          <a:xfrm>
            <a:off x="8777288" y="2265363"/>
            <a:ext cx="3414712" cy="3951287"/>
          </a:xfrm>
        </p:spPr>
        <p:txBody>
          <a:bodyPr/>
          <a:lstStyle/>
          <a:p>
            <a:r>
              <a:rPr lang="en-US"/>
              <a:t>Click icon to add picture</a:t>
            </a:r>
            <a:endParaRPr lang="en-US" dirty="0"/>
          </a:p>
        </p:txBody>
      </p:sp>
      <p:sp>
        <p:nvSpPr>
          <p:cNvPr id="4" name="Footer Placeholder 3">
            <a:extLst>
              <a:ext uri="{FF2B5EF4-FFF2-40B4-BE49-F238E27FC236}">
                <a16:creationId xmlns:a16="http://schemas.microsoft.com/office/drawing/2014/main" id="{B9B99AED-D702-41BF-B21E-9BFB06308223}"/>
              </a:ext>
            </a:extLst>
          </p:cNvPr>
          <p:cNvSpPr>
            <a:spLocks noGrp="1"/>
          </p:cNvSpPr>
          <p:nvPr>
            <p:ph type="ftr" sz="quarter" idx="11"/>
          </p:nvPr>
        </p:nvSpPr>
        <p:spPr>
          <a:xfrm>
            <a:off x="960121" y="6356350"/>
            <a:ext cx="3353262" cy="365125"/>
          </a:xfrm>
        </p:spPr>
        <p:txBody>
          <a:bodyPr/>
          <a:lstStyle/>
          <a:p>
            <a:r>
              <a:rPr lang="en-US" dirty="0"/>
              <a:t>Sample Footer Text</a:t>
            </a:r>
          </a:p>
        </p:txBody>
      </p:sp>
      <p:sp>
        <p:nvSpPr>
          <p:cNvPr id="3" name="Date Placeholder 2">
            <a:extLst>
              <a:ext uri="{FF2B5EF4-FFF2-40B4-BE49-F238E27FC236}">
                <a16:creationId xmlns:a16="http://schemas.microsoft.com/office/drawing/2014/main" id="{2674C4BB-67B0-4BF7-A7D4-4222652EDB8C}"/>
              </a:ext>
            </a:extLst>
          </p:cNvPr>
          <p:cNvSpPr>
            <a:spLocks noGrp="1"/>
          </p:cNvSpPr>
          <p:nvPr>
            <p:ph type="dt" sz="half" idx="10"/>
          </p:nvPr>
        </p:nvSpPr>
        <p:spPr>
          <a:xfrm>
            <a:off x="4477512" y="6356350"/>
            <a:ext cx="3236976" cy="365125"/>
          </a:xfrm>
        </p:spPr>
        <p:txBody>
          <a:bodyPr/>
          <a:lstStyle>
            <a:lvl1pPr algn="ctr">
              <a:defRPr/>
            </a:lvl1pPr>
          </a:lstStyle>
          <a:p>
            <a:r>
              <a:rPr lang="en-US" dirty="0"/>
              <a:t>20XX</a:t>
            </a:r>
          </a:p>
        </p:txBody>
      </p:sp>
      <p:sp>
        <p:nvSpPr>
          <p:cNvPr id="5" name="Slide Number Placeholder 4">
            <a:extLst>
              <a:ext uri="{FF2B5EF4-FFF2-40B4-BE49-F238E27FC236}">
                <a16:creationId xmlns:a16="http://schemas.microsoft.com/office/drawing/2014/main" id="{4952C385-1FC3-453C-952E-8DDB1B052FF8}"/>
              </a:ext>
            </a:extLst>
          </p:cNvPr>
          <p:cNvSpPr>
            <a:spLocks noGrp="1"/>
          </p:cNvSpPr>
          <p:nvPr>
            <p:ph type="sldNum" sz="quarter" idx="12"/>
          </p:nvPr>
        </p:nvSpPr>
        <p:spPr/>
        <p:txBody>
          <a:bodyPr/>
          <a:lstStyle/>
          <a:p>
            <a:fld id="{294A09A9-5501-47C1-A89A-A340965A2BE2}" type="slidenum">
              <a:rPr lang="en-US" smtClean="0"/>
              <a:t>‹#›</a:t>
            </a:fld>
            <a:endParaRPr lang="en-US" dirty="0"/>
          </a:p>
        </p:txBody>
      </p:sp>
    </p:spTree>
    <p:extLst>
      <p:ext uri="{BB962C8B-B14F-4D97-AF65-F5344CB8AC3E}">
        <p14:creationId xmlns:p14="http://schemas.microsoft.com/office/powerpoint/2010/main" val="17359075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Introduction">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D984A150-581C-4608-9034-48767311A65F}"/>
              </a:ext>
              <a:ext uri="{C183D7F6-B498-43B3-948B-1728B52AA6E4}">
                <adec:decorative xmlns:adec="http://schemas.microsoft.com/office/drawing/2017/decorative" val="1"/>
              </a:ext>
            </a:extLst>
          </p:cNvPr>
          <p:cNvSpPr/>
          <p:nvPr userDrawn="1"/>
        </p:nvSpPr>
        <p:spPr>
          <a:xfrm>
            <a:off x="0" y="0"/>
            <a:ext cx="609447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a:extLst>
              <a:ext uri="{FF2B5EF4-FFF2-40B4-BE49-F238E27FC236}">
                <a16:creationId xmlns:a16="http://schemas.microsoft.com/office/drawing/2014/main" id="{EE19D4B2-6593-465B-9A8E-03DFC943441B}"/>
              </a:ext>
            </a:extLst>
          </p:cNvPr>
          <p:cNvSpPr>
            <a:spLocks noGrp="1"/>
          </p:cNvSpPr>
          <p:nvPr>
            <p:ph type="title" hasCustomPrompt="1"/>
          </p:nvPr>
        </p:nvSpPr>
        <p:spPr>
          <a:xfrm>
            <a:off x="960438" y="317499"/>
            <a:ext cx="4500737" cy="2095501"/>
          </a:xfrm>
        </p:spPr>
        <p:txBody>
          <a:bodyPr>
            <a:noAutofit/>
          </a:bodyPr>
          <a:lstStyle>
            <a:lvl1pPr>
              <a:defRPr sz="5400"/>
            </a:lvl1pPr>
          </a:lstStyle>
          <a:p>
            <a:r>
              <a:rPr lang="en-US" sz="5400" dirty="0"/>
              <a:t>Click to edit master text style</a:t>
            </a:r>
          </a:p>
        </p:txBody>
      </p:sp>
      <p:sp>
        <p:nvSpPr>
          <p:cNvPr id="13" name="Content Placeholder 2">
            <a:extLst>
              <a:ext uri="{FF2B5EF4-FFF2-40B4-BE49-F238E27FC236}">
                <a16:creationId xmlns:a16="http://schemas.microsoft.com/office/drawing/2014/main" id="{E309CC8E-0532-4674-9535-1514DA3C14B1}"/>
              </a:ext>
            </a:extLst>
          </p:cNvPr>
          <p:cNvSpPr>
            <a:spLocks noGrp="1"/>
          </p:cNvSpPr>
          <p:nvPr>
            <p:ph idx="1" hasCustomPrompt="1"/>
          </p:nvPr>
        </p:nvSpPr>
        <p:spPr>
          <a:xfrm>
            <a:off x="960438" y="2587625"/>
            <a:ext cx="4500737" cy="3594100"/>
          </a:xfrm>
        </p:spPr>
        <p:txBody>
          <a:bodyPr anchor="ctr">
            <a:normAutofit/>
          </a:bodyPr>
          <a:lstStyle>
            <a:lvl1pPr>
              <a:defRPr sz="2000">
                <a:solidFill>
                  <a:schemeClr val="bg1"/>
                </a:solidFill>
              </a:defRPr>
            </a:lvl1pPr>
          </a:lstStyle>
          <a:p>
            <a:r>
              <a:rPr lang="en-US" sz="2000" dirty="0">
                <a:solidFill>
                  <a:schemeClr val="bg1"/>
                </a:solidFill>
                <a:cs typeface="Calibri"/>
              </a:rPr>
              <a:t>Click to edit master text style</a:t>
            </a:r>
          </a:p>
        </p:txBody>
      </p:sp>
      <p:sp>
        <p:nvSpPr>
          <p:cNvPr id="15" name="Footer Placeholder 8">
            <a:extLst>
              <a:ext uri="{FF2B5EF4-FFF2-40B4-BE49-F238E27FC236}">
                <a16:creationId xmlns:a16="http://schemas.microsoft.com/office/drawing/2014/main" id="{A468A676-C4AD-4F50-936D-1C858E8136CE}"/>
              </a:ext>
            </a:extLst>
          </p:cNvPr>
          <p:cNvSpPr txBox="1">
            <a:spLocks/>
          </p:cNvSpPr>
          <p:nvPr userDrawn="1"/>
        </p:nvSpPr>
        <p:spPr>
          <a:xfrm>
            <a:off x="960438" y="6356350"/>
            <a:ext cx="4981512" cy="365125"/>
          </a:xfrm>
          <a:prstGeom prst="rect">
            <a:avLst/>
          </a:prstGeom>
        </p:spPr>
        <p:txBody>
          <a:bodyPr vert="horz" lIns="91440" tIns="45720" rIns="91440" bIns="45720" rtlCol="0" anchor="ctr"/>
          <a:lstStyle>
            <a:defPPr>
              <a:defRPr lang="en-US"/>
            </a:defPPr>
            <a:lvl1pPr marL="0" algn="l" defTabSz="914400" rtl="0" eaLnBrk="1" latinLnBrk="0" hangingPunct="1">
              <a:defRPr sz="1100" kern="1200" cap="all" spc="5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bg1"/>
                </a:solidFill>
              </a:rPr>
              <a:t>Sample Footer Text</a:t>
            </a:r>
          </a:p>
        </p:txBody>
      </p:sp>
      <p:sp>
        <p:nvSpPr>
          <p:cNvPr id="3" name="Picture Placeholder 2">
            <a:extLst>
              <a:ext uri="{FF2B5EF4-FFF2-40B4-BE49-F238E27FC236}">
                <a16:creationId xmlns:a16="http://schemas.microsoft.com/office/drawing/2014/main" id="{63537098-0CB9-40F0-99EE-35DF790670B5}"/>
              </a:ext>
            </a:extLst>
          </p:cNvPr>
          <p:cNvSpPr>
            <a:spLocks noGrp="1"/>
          </p:cNvSpPr>
          <p:nvPr>
            <p:ph type="pic" sz="quarter" idx="13"/>
          </p:nvPr>
        </p:nvSpPr>
        <p:spPr>
          <a:xfrm>
            <a:off x="6094474" y="0"/>
            <a:ext cx="3046351" cy="3428363"/>
          </a:xfrm>
        </p:spPr>
        <p:txBody>
          <a:bodyPr/>
          <a:lstStyle/>
          <a:p>
            <a:r>
              <a:rPr lang="en-US"/>
              <a:t>Click icon to add picture</a:t>
            </a:r>
            <a:endParaRPr lang="en-US" dirty="0"/>
          </a:p>
        </p:txBody>
      </p:sp>
      <p:sp>
        <p:nvSpPr>
          <p:cNvPr id="8" name="Picture Placeholder 7">
            <a:extLst>
              <a:ext uri="{FF2B5EF4-FFF2-40B4-BE49-F238E27FC236}">
                <a16:creationId xmlns:a16="http://schemas.microsoft.com/office/drawing/2014/main" id="{6B54A389-080E-45CE-8275-215B7C9B589D}"/>
              </a:ext>
            </a:extLst>
          </p:cNvPr>
          <p:cNvSpPr>
            <a:spLocks noGrp="1"/>
          </p:cNvSpPr>
          <p:nvPr>
            <p:ph type="pic" sz="quarter" idx="14"/>
          </p:nvPr>
        </p:nvSpPr>
        <p:spPr>
          <a:xfrm>
            <a:off x="9148763" y="0"/>
            <a:ext cx="3048000" cy="3429000"/>
          </a:xfrm>
        </p:spPr>
        <p:txBody>
          <a:bodyPr/>
          <a:lstStyle/>
          <a:p>
            <a:r>
              <a:rPr lang="en-US"/>
              <a:t>Click icon to add picture</a:t>
            </a:r>
            <a:endParaRPr lang="en-US" dirty="0"/>
          </a:p>
        </p:txBody>
      </p:sp>
      <p:sp>
        <p:nvSpPr>
          <p:cNvPr id="26" name="Picture Placeholder 25">
            <a:extLst>
              <a:ext uri="{FF2B5EF4-FFF2-40B4-BE49-F238E27FC236}">
                <a16:creationId xmlns:a16="http://schemas.microsoft.com/office/drawing/2014/main" id="{F5006F58-5D95-4392-9D32-BE333EA5493B}"/>
              </a:ext>
            </a:extLst>
          </p:cNvPr>
          <p:cNvSpPr>
            <a:spLocks noGrp="1"/>
          </p:cNvSpPr>
          <p:nvPr>
            <p:ph type="pic" sz="quarter" idx="15"/>
          </p:nvPr>
        </p:nvSpPr>
        <p:spPr>
          <a:xfrm>
            <a:off x="6102350" y="3429000"/>
            <a:ext cx="6076950" cy="3429000"/>
          </a:xfrm>
        </p:spPr>
        <p:txBody>
          <a:bodyPr/>
          <a:lstStyle/>
          <a:p>
            <a:r>
              <a:rPr lang="en-US"/>
              <a:t>Click icon to add picture</a:t>
            </a:r>
            <a:endParaRPr lang="en-US" dirty="0"/>
          </a:p>
        </p:txBody>
      </p:sp>
      <p:sp>
        <p:nvSpPr>
          <p:cNvPr id="5" name="Date Placeholder 4">
            <a:extLst>
              <a:ext uri="{FF2B5EF4-FFF2-40B4-BE49-F238E27FC236}">
                <a16:creationId xmlns:a16="http://schemas.microsoft.com/office/drawing/2014/main" id="{FC0A8DC1-14F6-453B-A724-D6493F063F83}"/>
              </a:ext>
            </a:extLst>
          </p:cNvPr>
          <p:cNvSpPr>
            <a:spLocks noGrp="1"/>
          </p:cNvSpPr>
          <p:nvPr>
            <p:ph type="dt" sz="half" idx="10"/>
          </p:nvPr>
        </p:nvSpPr>
        <p:spPr/>
        <p:txBody>
          <a:bodyPr/>
          <a:lstStyle>
            <a:lvl1pPr>
              <a:defRPr/>
            </a:lvl1pPr>
          </a:lstStyle>
          <a:p>
            <a:r>
              <a:rPr lang="en-US" dirty="0"/>
              <a:t>20XX</a:t>
            </a:r>
          </a:p>
        </p:txBody>
      </p:sp>
      <p:sp>
        <p:nvSpPr>
          <p:cNvPr id="7" name="Slide Number Placeholder 6">
            <a:extLst>
              <a:ext uri="{FF2B5EF4-FFF2-40B4-BE49-F238E27FC236}">
                <a16:creationId xmlns:a16="http://schemas.microsoft.com/office/drawing/2014/main" id="{1E066D53-44B3-4F04-93FD-9756A60139F9}"/>
              </a:ext>
            </a:extLst>
          </p:cNvPr>
          <p:cNvSpPr>
            <a:spLocks noGrp="1"/>
          </p:cNvSpPr>
          <p:nvPr>
            <p:ph type="sldNum" sz="quarter" idx="12"/>
          </p:nvPr>
        </p:nvSpPr>
        <p:spPr/>
        <p:txBody>
          <a:bodyPr/>
          <a:lstStyle/>
          <a:p>
            <a:fld id="{294A09A9-5501-47C1-A89A-A340965A2BE2}" type="slidenum">
              <a:rPr lang="en-US" smtClean="0"/>
              <a:t>‹#›</a:t>
            </a:fld>
            <a:endParaRPr lang="en-US" dirty="0"/>
          </a:p>
        </p:txBody>
      </p:sp>
    </p:spTree>
    <p:extLst>
      <p:ext uri="{BB962C8B-B14F-4D97-AF65-F5344CB8AC3E}">
        <p14:creationId xmlns:p14="http://schemas.microsoft.com/office/powerpoint/2010/main" val="26517305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Section brea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81E0804-8E9E-4C6E-B18D-44FE715B239E}"/>
              </a:ext>
              <a:ext uri="{C183D7F6-B498-43B3-948B-1728B52AA6E4}">
                <adec:decorative xmlns:adec="http://schemas.microsoft.com/office/drawing/2017/decorative" val="1"/>
              </a:ext>
            </a:extLst>
          </p:cNvPr>
          <p:cNvSpPr/>
          <p:nvPr/>
        </p:nvSpPr>
        <p:spPr>
          <a:xfrm>
            <a:off x="0" y="0"/>
            <a:ext cx="12192000" cy="42249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C278AA1-17A5-44BF-8791-EACDA31F5D86}"/>
              </a:ext>
            </a:extLst>
          </p:cNvPr>
          <p:cNvSpPr>
            <a:spLocks noGrp="1"/>
          </p:cNvSpPr>
          <p:nvPr>
            <p:ph type="title"/>
          </p:nvPr>
        </p:nvSpPr>
        <p:spPr>
          <a:xfrm>
            <a:off x="960120" y="768096"/>
            <a:ext cx="10268712" cy="3136392"/>
          </a:xfrm>
        </p:spPr>
        <p:txBody>
          <a:bodyPr anchor="b">
            <a:normAutofit/>
          </a:bodyPr>
          <a:lstStyle>
            <a:lvl1pPr>
              <a:defRPr sz="7200" baseline="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01203A5-DA79-4778-AB85-150365748494}"/>
              </a:ext>
            </a:extLst>
          </p:cNvPr>
          <p:cNvSpPr>
            <a:spLocks noGrp="1"/>
          </p:cNvSpPr>
          <p:nvPr>
            <p:ph type="body" idx="1"/>
          </p:nvPr>
        </p:nvSpPr>
        <p:spPr>
          <a:xfrm>
            <a:off x="960120" y="4544568"/>
            <a:ext cx="10268712" cy="1545336"/>
          </a:xfrm>
        </p:spPr>
        <p:txBody>
          <a:bodyPr>
            <a:normAutofit/>
          </a:bodyPr>
          <a:lstStyle>
            <a:lvl1pPr marL="0" indent="0">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738442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380910-921F-4143-AB01-0F0AFC2908C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E0182FC-5A0B-4C24-A6ED-990ED5BA908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825F1358-C731-465B-BCB1-2CCBFD6ECF7E}"/>
              </a:ext>
            </a:extLst>
          </p:cNvPr>
          <p:cNvSpPr>
            <a:spLocks noGrp="1"/>
          </p:cNvSpPr>
          <p:nvPr>
            <p:ph type="ftr" sz="quarter" idx="11"/>
          </p:nvPr>
        </p:nvSpPr>
        <p:spPr>
          <a:xfrm>
            <a:off x="960120" y="6356350"/>
            <a:ext cx="3236976" cy="365125"/>
          </a:xfrm>
        </p:spPr>
        <p:txBody>
          <a:bodyPr/>
          <a:lstStyle/>
          <a:p>
            <a:r>
              <a:rPr lang="en-US" dirty="0"/>
              <a:t>Sample Footer Text</a:t>
            </a:r>
          </a:p>
        </p:txBody>
      </p:sp>
      <p:sp>
        <p:nvSpPr>
          <p:cNvPr id="7" name="Date Placeholder 6">
            <a:extLst>
              <a:ext uri="{FF2B5EF4-FFF2-40B4-BE49-F238E27FC236}">
                <a16:creationId xmlns:a16="http://schemas.microsoft.com/office/drawing/2014/main" id="{9B6172F4-3DB0-4AE3-8926-081B78034C68}"/>
              </a:ext>
            </a:extLst>
          </p:cNvPr>
          <p:cNvSpPr>
            <a:spLocks noGrp="1"/>
          </p:cNvSpPr>
          <p:nvPr>
            <p:ph type="dt" sz="half" idx="10"/>
          </p:nvPr>
        </p:nvSpPr>
        <p:spPr>
          <a:xfrm>
            <a:off x="4477512" y="6356350"/>
            <a:ext cx="3236976" cy="365125"/>
          </a:xfrm>
        </p:spPr>
        <p:txBody>
          <a:bodyPr/>
          <a:lstStyle>
            <a:lvl1pPr algn="ctr">
              <a:defRPr/>
            </a:lvl1pPr>
          </a:lstStyle>
          <a:p>
            <a:r>
              <a:rPr lang="en-US" dirty="0"/>
              <a:t>20XX</a:t>
            </a:r>
          </a:p>
        </p:txBody>
      </p:sp>
      <p:sp>
        <p:nvSpPr>
          <p:cNvPr id="9" name="Slide Number Placeholder 8">
            <a:extLst>
              <a:ext uri="{FF2B5EF4-FFF2-40B4-BE49-F238E27FC236}">
                <a16:creationId xmlns:a16="http://schemas.microsoft.com/office/drawing/2014/main" id="{C8D59536-57D3-4C8A-A207-568465A32E45}"/>
              </a:ext>
            </a:extLst>
          </p:cNvPr>
          <p:cNvSpPr>
            <a:spLocks noGrp="1"/>
          </p:cNvSpPr>
          <p:nvPr>
            <p:ph type="sldNum" sz="quarter" idx="12"/>
          </p:nvPr>
        </p:nvSpPr>
        <p:spPr/>
        <p:txBody>
          <a:bodyPr/>
          <a:lstStyle/>
          <a:p>
            <a:fld id="{27CE633F-9882-4A5C-83A2-1109D0C73261}" type="slidenum">
              <a:rPr lang="en-US" smtClean="0"/>
              <a:t>‹#›</a:t>
            </a:fld>
            <a:endParaRPr lang="en-US" dirty="0"/>
          </a:p>
        </p:txBody>
      </p:sp>
    </p:spTree>
    <p:extLst>
      <p:ext uri="{BB962C8B-B14F-4D97-AF65-F5344CB8AC3E}">
        <p14:creationId xmlns:p14="http://schemas.microsoft.com/office/powerpoint/2010/main" val="23882802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D984A150-581C-4608-9034-48767311A65F}"/>
              </a:ext>
              <a:ext uri="{C183D7F6-B498-43B3-948B-1728B52AA6E4}">
                <adec:decorative xmlns:adec="http://schemas.microsoft.com/office/drawing/2017/decorative" val="1"/>
              </a:ext>
            </a:extLst>
          </p:cNvPr>
          <p:cNvSpPr/>
          <p:nvPr userDrawn="1"/>
        </p:nvSpPr>
        <p:spPr>
          <a:xfrm>
            <a:off x="4657345" y="0"/>
            <a:ext cx="753465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a:extLst>
              <a:ext uri="{FF2B5EF4-FFF2-40B4-BE49-F238E27FC236}">
                <a16:creationId xmlns:a16="http://schemas.microsoft.com/office/drawing/2014/main" id="{EE19D4B2-6593-465B-9A8E-03DFC943441B}"/>
              </a:ext>
            </a:extLst>
          </p:cNvPr>
          <p:cNvSpPr>
            <a:spLocks noGrp="1"/>
          </p:cNvSpPr>
          <p:nvPr>
            <p:ph type="title" hasCustomPrompt="1"/>
          </p:nvPr>
        </p:nvSpPr>
        <p:spPr>
          <a:xfrm>
            <a:off x="5355771" y="1004205"/>
            <a:ext cx="6096000" cy="3725183"/>
          </a:xfrm>
        </p:spPr>
        <p:txBody>
          <a:bodyPr>
            <a:noAutofit/>
          </a:bodyPr>
          <a:lstStyle>
            <a:lvl1pPr>
              <a:defRPr sz="6000"/>
            </a:lvl1pPr>
          </a:lstStyle>
          <a:p>
            <a:r>
              <a:rPr lang="en-US" sz="5400" dirty="0"/>
              <a:t>Click to edit master text style</a:t>
            </a:r>
          </a:p>
        </p:txBody>
      </p:sp>
      <p:sp>
        <p:nvSpPr>
          <p:cNvPr id="3" name="Picture Placeholder 2">
            <a:extLst>
              <a:ext uri="{FF2B5EF4-FFF2-40B4-BE49-F238E27FC236}">
                <a16:creationId xmlns:a16="http://schemas.microsoft.com/office/drawing/2014/main" id="{63537098-0CB9-40F0-99EE-35DF790670B5}"/>
              </a:ext>
            </a:extLst>
          </p:cNvPr>
          <p:cNvSpPr>
            <a:spLocks noGrp="1"/>
          </p:cNvSpPr>
          <p:nvPr>
            <p:ph type="pic" sz="quarter" idx="13"/>
          </p:nvPr>
        </p:nvSpPr>
        <p:spPr>
          <a:xfrm>
            <a:off x="0" y="0"/>
            <a:ext cx="4657345" cy="6858000"/>
          </a:xfrm>
        </p:spPr>
        <p:txBody>
          <a:bodyPr/>
          <a:lstStyle/>
          <a:p>
            <a:r>
              <a:rPr lang="en-US"/>
              <a:t>Click icon to add picture</a:t>
            </a:r>
            <a:endParaRPr lang="en-US" dirty="0"/>
          </a:p>
        </p:txBody>
      </p:sp>
      <p:sp>
        <p:nvSpPr>
          <p:cNvPr id="15" name="Footer Placeholder 8">
            <a:extLst>
              <a:ext uri="{FF2B5EF4-FFF2-40B4-BE49-F238E27FC236}">
                <a16:creationId xmlns:a16="http://schemas.microsoft.com/office/drawing/2014/main" id="{A468A676-C4AD-4F50-936D-1C858E8136CE}"/>
              </a:ext>
            </a:extLst>
          </p:cNvPr>
          <p:cNvSpPr txBox="1">
            <a:spLocks/>
          </p:cNvSpPr>
          <p:nvPr userDrawn="1"/>
        </p:nvSpPr>
        <p:spPr>
          <a:xfrm>
            <a:off x="960438" y="6356350"/>
            <a:ext cx="4981512" cy="365125"/>
          </a:xfrm>
          <a:prstGeom prst="rect">
            <a:avLst/>
          </a:prstGeom>
        </p:spPr>
        <p:txBody>
          <a:bodyPr vert="horz" lIns="91440" tIns="45720" rIns="91440" bIns="45720" rtlCol="0" anchor="ctr"/>
          <a:lstStyle>
            <a:defPPr>
              <a:defRPr lang="en-US"/>
            </a:defPPr>
            <a:lvl1pPr marL="0" algn="l" defTabSz="914400" rtl="0" eaLnBrk="1" latinLnBrk="0" hangingPunct="1">
              <a:defRPr sz="1100" kern="1200" cap="all" spc="5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bg1"/>
                </a:solidFill>
              </a:rPr>
              <a:t>Sample Footer Text</a:t>
            </a:r>
          </a:p>
        </p:txBody>
      </p:sp>
      <p:sp>
        <p:nvSpPr>
          <p:cNvPr id="13" name="Content Placeholder 2">
            <a:extLst>
              <a:ext uri="{FF2B5EF4-FFF2-40B4-BE49-F238E27FC236}">
                <a16:creationId xmlns:a16="http://schemas.microsoft.com/office/drawing/2014/main" id="{E309CC8E-0532-4674-9535-1514DA3C14B1}"/>
              </a:ext>
            </a:extLst>
          </p:cNvPr>
          <p:cNvSpPr>
            <a:spLocks noGrp="1"/>
          </p:cNvSpPr>
          <p:nvPr>
            <p:ph idx="1" hasCustomPrompt="1"/>
          </p:nvPr>
        </p:nvSpPr>
        <p:spPr>
          <a:xfrm>
            <a:off x="5355771" y="4865914"/>
            <a:ext cx="6096000" cy="532038"/>
          </a:xfrm>
        </p:spPr>
        <p:txBody>
          <a:bodyPr anchor="ctr">
            <a:normAutofit/>
          </a:bodyPr>
          <a:lstStyle>
            <a:lvl1pPr>
              <a:defRPr sz="2800">
                <a:solidFill>
                  <a:schemeClr val="bg1"/>
                </a:solidFill>
              </a:defRPr>
            </a:lvl1pPr>
          </a:lstStyle>
          <a:p>
            <a:r>
              <a:rPr lang="en-US" sz="2000" dirty="0">
                <a:solidFill>
                  <a:schemeClr val="bg1"/>
                </a:solidFill>
                <a:cs typeface="Calibri"/>
              </a:rPr>
              <a:t>Click to edit master text style</a:t>
            </a:r>
          </a:p>
        </p:txBody>
      </p:sp>
      <p:sp>
        <p:nvSpPr>
          <p:cNvPr id="5" name="Date Placeholder 4">
            <a:extLst>
              <a:ext uri="{FF2B5EF4-FFF2-40B4-BE49-F238E27FC236}">
                <a16:creationId xmlns:a16="http://schemas.microsoft.com/office/drawing/2014/main" id="{FC0A8DC1-14F6-453B-A724-D6493F063F83}"/>
              </a:ext>
            </a:extLst>
          </p:cNvPr>
          <p:cNvSpPr>
            <a:spLocks noGrp="1"/>
          </p:cNvSpPr>
          <p:nvPr>
            <p:ph type="dt" sz="half" idx="10"/>
          </p:nvPr>
        </p:nvSpPr>
        <p:spPr/>
        <p:txBody>
          <a:bodyPr/>
          <a:lstStyle>
            <a:lvl1pPr algn="r">
              <a:defRPr>
                <a:solidFill>
                  <a:schemeClr val="bg1"/>
                </a:solidFill>
              </a:defRPr>
            </a:lvl1pPr>
          </a:lstStyle>
          <a:p>
            <a:r>
              <a:rPr lang="en-US" dirty="0"/>
              <a:t>20XX</a:t>
            </a:r>
          </a:p>
        </p:txBody>
      </p:sp>
      <p:sp>
        <p:nvSpPr>
          <p:cNvPr id="7" name="Slide Number Placeholder 6">
            <a:extLst>
              <a:ext uri="{FF2B5EF4-FFF2-40B4-BE49-F238E27FC236}">
                <a16:creationId xmlns:a16="http://schemas.microsoft.com/office/drawing/2014/main" id="{1E066D53-44B3-4F04-93FD-9756A60139F9}"/>
              </a:ext>
            </a:extLst>
          </p:cNvPr>
          <p:cNvSpPr>
            <a:spLocks noGrp="1"/>
          </p:cNvSpPr>
          <p:nvPr>
            <p:ph type="sldNum" sz="quarter" idx="12"/>
          </p:nvPr>
        </p:nvSpPr>
        <p:spPr/>
        <p:txBody>
          <a:bodyPr/>
          <a:lstStyle>
            <a:lvl1pPr algn="r">
              <a:defRPr>
                <a:solidFill>
                  <a:schemeClr val="bg1"/>
                </a:solidFill>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4263401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BC7BA0-DC57-452F-85B7-C979AA690920}"/>
              </a:ext>
            </a:extLst>
          </p:cNvPr>
          <p:cNvSpPr>
            <a:spLocks noGrp="1"/>
          </p:cNvSpPr>
          <p:nvPr>
            <p:ph type="title"/>
          </p:nvPr>
        </p:nvSpPr>
        <p:spPr/>
        <p:txBody>
          <a:bodyPr/>
          <a:lstStyle/>
          <a:p>
            <a:r>
              <a:rPr lang="en-US"/>
              <a:t>Click to edit Master title style</a:t>
            </a:r>
          </a:p>
        </p:txBody>
      </p:sp>
      <p:sp>
        <p:nvSpPr>
          <p:cNvPr id="23" name="Picture Placeholder 22">
            <a:extLst>
              <a:ext uri="{FF2B5EF4-FFF2-40B4-BE49-F238E27FC236}">
                <a16:creationId xmlns:a16="http://schemas.microsoft.com/office/drawing/2014/main" id="{91DF4D9E-FD4F-4244-ACD6-44EC4C0494F0}"/>
              </a:ext>
            </a:extLst>
          </p:cNvPr>
          <p:cNvSpPr>
            <a:spLocks noGrp="1"/>
          </p:cNvSpPr>
          <p:nvPr>
            <p:ph type="pic" sz="quarter" idx="13"/>
          </p:nvPr>
        </p:nvSpPr>
        <p:spPr>
          <a:xfrm>
            <a:off x="1066800" y="3048000"/>
            <a:ext cx="1790700" cy="1790700"/>
          </a:xfrm>
        </p:spPr>
        <p:txBody>
          <a:bodyPr/>
          <a:lstStyle/>
          <a:p>
            <a:r>
              <a:rPr lang="en-US"/>
              <a:t>Click icon to add picture</a:t>
            </a:r>
            <a:endParaRPr lang="en-US" dirty="0"/>
          </a:p>
        </p:txBody>
      </p:sp>
      <p:sp>
        <p:nvSpPr>
          <p:cNvPr id="24" name="Picture Placeholder 22">
            <a:extLst>
              <a:ext uri="{FF2B5EF4-FFF2-40B4-BE49-F238E27FC236}">
                <a16:creationId xmlns:a16="http://schemas.microsoft.com/office/drawing/2014/main" id="{44F5B526-8975-4F7C-B558-830FCEE06861}"/>
              </a:ext>
            </a:extLst>
          </p:cNvPr>
          <p:cNvSpPr>
            <a:spLocks noGrp="1"/>
          </p:cNvSpPr>
          <p:nvPr>
            <p:ph type="pic" sz="quarter" idx="14"/>
          </p:nvPr>
        </p:nvSpPr>
        <p:spPr>
          <a:xfrm>
            <a:off x="3821762" y="3048000"/>
            <a:ext cx="1790700" cy="1790700"/>
          </a:xfrm>
        </p:spPr>
        <p:txBody>
          <a:bodyPr/>
          <a:lstStyle/>
          <a:p>
            <a:r>
              <a:rPr lang="en-US"/>
              <a:t>Click icon to add picture</a:t>
            </a:r>
            <a:endParaRPr lang="en-US" dirty="0"/>
          </a:p>
        </p:txBody>
      </p:sp>
      <p:sp>
        <p:nvSpPr>
          <p:cNvPr id="25" name="Picture Placeholder 22">
            <a:extLst>
              <a:ext uri="{FF2B5EF4-FFF2-40B4-BE49-F238E27FC236}">
                <a16:creationId xmlns:a16="http://schemas.microsoft.com/office/drawing/2014/main" id="{ED20DBB5-D24E-40D6-AFFB-428692A51AD3}"/>
              </a:ext>
            </a:extLst>
          </p:cNvPr>
          <p:cNvSpPr>
            <a:spLocks noGrp="1"/>
          </p:cNvSpPr>
          <p:nvPr>
            <p:ph type="pic" sz="quarter" idx="15"/>
          </p:nvPr>
        </p:nvSpPr>
        <p:spPr>
          <a:xfrm>
            <a:off x="6576021" y="3048000"/>
            <a:ext cx="1790700" cy="1790700"/>
          </a:xfrm>
        </p:spPr>
        <p:txBody>
          <a:bodyPr/>
          <a:lstStyle/>
          <a:p>
            <a:r>
              <a:rPr lang="en-US"/>
              <a:t>Click icon to add picture</a:t>
            </a:r>
            <a:endParaRPr lang="en-US" dirty="0"/>
          </a:p>
        </p:txBody>
      </p:sp>
      <p:sp>
        <p:nvSpPr>
          <p:cNvPr id="26" name="Picture Placeholder 22">
            <a:extLst>
              <a:ext uri="{FF2B5EF4-FFF2-40B4-BE49-F238E27FC236}">
                <a16:creationId xmlns:a16="http://schemas.microsoft.com/office/drawing/2014/main" id="{F6F7262C-3E29-4219-AF83-B7A71B97A136}"/>
              </a:ext>
            </a:extLst>
          </p:cNvPr>
          <p:cNvSpPr>
            <a:spLocks noGrp="1"/>
          </p:cNvSpPr>
          <p:nvPr>
            <p:ph type="pic" sz="quarter" idx="16"/>
          </p:nvPr>
        </p:nvSpPr>
        <p:spPr>
          <a:xfrm>
            <a:off x="9334500" y="3048000"/>
            <a:ext cx="1790700" cy="1790700"/>
          </a:xfrm>
        </p:spPr>
        <p:txBody>
          <a:bodyPr/>
          <a:lstStyle/>
          <a:p>
            <a:r>
              <a:rPr lang="en-US"/>
              <a:t>Click icon to add picture</a:t>
            </a:r>
            <a:endParaRPr lang="en-US" dirty="0"/>
          </a:p>
        </p:txBody>
      </p:sp>
      <p:sp>
        <p:nvSpPr>
          <p:cNvPr id="28" name="Text Placeholder 27">
            <a:extLst>
              <a:ext uri="{FF2B5EF4-FFF2-40B4-BE49-F238E27FC236}">
                <a16:creationId xmlns:a16="http://schemas.microsoft.com/office/drawing/2014/main" id="{53861F78-BD42-4F29-8487-1641CFD0391D}"/>
              </a:ext>
            </a:extLst>
          </p:cNvPr>
          <p:cNvSpPr>
            <a:spLocks noGrp="1"/>
          </p:cNvSpPr>
          <p:nvPr>
            <p:ph type="body" sz="quarter" idx="17"/>
          </p:nvPr>
        </p:nvSpPr>
        <p:spPr>
          <a:xfrm>
            <a:off x="1066800" y="5124103"/>
            <a:ext cx="1790700" cy="350292"/>
          </a:xfrm>
        </p:spPr>
        <p:txBody>
          <a:bodyPr>
            <a:normAutofit/>
          </a:bodyPr>
          <a:lstStyle>
            <a:lvl1pPr algn="ctr">
              <a:defRPr lang="en-US" sz="1800" kern="1200" dirty="0" smtClean="0">
                <a:solidFill>
                  <a:schemeClr val="tx1"/>
                </a:solidFill>
                <a:latin typeface="+mn-lt"/>
                <a:ea typeface="+mn-ea"/>
                <a:cs typeface="+mn-cs"/>
              </a:defRPr>
            </a:lvl1pPr>
            <a:lvl2pPr marL="0" indent="0">
              <a:buNone/>
              <a:defRPr/>
            </a:lvl2pPr>
          </a:lstStyle>
          <a:p>
            <a:pPr lvl="0"/>
            <a:r>
              <a:rPr lang="en-US"/>
              <a:t>Click to edit Master text styles</a:t>
            </a:r>
          </a:p>
        </p:txBody>
      </p:sp>
      <p:sp>
        <p:nvSpPr>
          <p:cNvPr id="29" name="Text Placeholder 27">
            <a:extLst>
              <a:ext uri="{FF2B5EF4-FFF2-40B4-BE49-F238E27FC236}">
                <a16:creationId xmlns:a16="http://schemas.microsoft.com/office/drawing/2014/main" id="{FFAB1F8B-1CEE-4068-86DE-561A12A04187}"/>
              </a:ext>
            </a:extLst>
          </p:cNvPr>
          <p:cNvSpPr>
            <a:spLocks noGrp="1"/>
          </p:cNvSpPr>
          <p:nvPr>
            <p:ph type="body" sz="quarter" idx="18"/>
          </p:nvPr>
        </p:nvSpPr>
        <p:spPr>
          <a:xfrm>
            <a:off x="1066800" y="5458421"/>
            <a:ext cx="1790700" cy="350292"/>
          </a:xfrm>
        </p:spPr>
        <p:txBody>
          <a:bodyPr>
            <a:noAutofit/>
          </a:bodyPr>
          <a:lstStyle>
            <a:lvl1pPr algn="ctr">
              <a:defRPr lang="en-US" sz="1400" kern="1200" dirty="0" smtClean="0">
                <a:solidFill>
                  <a:schemeClr val="tx1"/>
                </a:solidFill>
                <a:latin typeface="+mn-lt"/>
                <a:ea typeface="+mn-ea"/>
                <a:cs typeface="+mn-cs"/>
              </a:defRPr>
            </a:lvl1pPr>
            <a:lvl2pPr marL="0" indent="0">
              <a:buNone/>
              <a:defRPr/>
            </a:lvl2pPr>
          </a:lstStyle>
          <a:p>
            <a:pPr lvl="0"/>
            <a:r>
              <a:rPr lang="en-US"/>
              <a:t>Click to edit Master text styles</a:t>
            </a:r>
          </a:p>
        </p:txBody>
      </p:sp>
      <p:sp>
        <p:nvSpPr>
          <p:cNvPr id="30" name="Text Placeholder 27">
            <a:extLst>
              <a:ext uri="{FF2B5EF4-FFF2-40B4-BE49-F238E27FC236}">
                <a16:creationId xmlns:a16="http://schemas.microsoft.com/office/drawing/2014/main" id="{D5AE44CD-B78E-4EE2-B0F2-E0D436C2BA15}"/>
              </a:ext>
            </a:extLst>
          </p:cNvPr>
          <p:cNvSpPr>
            <a:spLocks noGrp="1"/>
          </p:cNvSpPr>
          <p:nvPr>
            <p:ph type="body" sz="quarter" idx="19"/>
          </p:nvPr>
        </p:nvSpPr>
        <p:spPr>
          <a:xfrm>
            <a:off x="3821762" y="5124103"/>
            <a:ext cx="1790700" cy="350292"/>
          </a:xfrm>
        </p:spPr>
        <p:txBody>
          <a:bodyPr>
            <a:normAutofit/>
          </a:bodyPr>
          <a:lstStyle>
            <a:lvl1pPr algn="ctr">
              <a:defRPr lang="en-US" sz="1800" kern="1200" dirty="0" smtClean="0">
                <a:solidFill>
                  <a:schemeClr val="tx1"/>
                </a:solidFill>
                <a:latin typeface="+mn-lt"/>
                <a:ea typeface="+mn-ea"/>
                <a:cs typeface="+mn-cs"/>
              </a:defRPr>
            </a:lvl1pPr>
            <a:lvl2pPr marL="0" indent="0">
              <a:buNone/>
              <a:defRPr/>
            </a:lvl2pPr>
          </a:lstStyle>
          <a:p>
            <a:pPr lvl="0"/>
            <a:r>
              <a:rPr lang="en-US"/>
              <a:t>Click to edit Master text styles</a:t>
            </a:r>
          </a:p>
        </p:txBody>
      </p:sp>
      <p:sp>
        <p:nvSpPr>
          <p:cNvPr id="31" name="Text Placeholder 27">
            <a:extLst>
              <a:ext uri="{FF2B5EF4-FFF2-40B4-BE49-F238E27FC236}">
                <a16:creationId xmlns:a16="http://schemas.microsoft.com/office/drawing/2014/main" id="{3C4FE2DB-091F-4F7A-B6B6-9A6F22AC0B5A}"/>
              </a:ext>
            </a:extLst>
          </p:cNvPr>
          <p:cNvSpPr>
            <a:spLocks noGrp="1"/>
          </p:cNvSpPr>
          <p:nvPr>
            <p:ph type="body" sz="quarter" idx="20"/>
          </p:nvPr>
        </p:nvSpPr>
        <p:spPr>
          <a:xfrm>
            <a:off x="3821762" y="5458421"/>
            <a:ext cx="1790700" cy="350292"/>
          </a:xfrm>
        </p:spPr>
        <p:txBody>
          <a:bodyPr>
            <a:noAutofit/>
          </a:bodyPr>
          <a:lstStyle>
            <a:lvl1pPr algn="ctr">
              <a:defRPr lang="en-US" sz="1400" kern="1200" dirty="0" smtClean="0">
                <a:solidFill>
                  <a:schemeClr val="tx1"/>
                </a:solidFill>
                <a:latin typeface="+mn-lt"/>
                <a:ea typeface="+mn-ea"/>
                <a:cs typeface="+mn-cs"/>
              </a:defRPr>
            </a:lvl1pPr>
            <a:lvl2pPr marL="0" indent="0">
              <a:buNone/>
              <a:defRPr/>
            </a:lvl2pPr>
          </a:lstStyle>
          <a:p>
            <a:pPr lvl="0"/>
            <a:r>
              <a:rPr lang="en-US"/>
              <a:t>Click to edit Master text styles</a:t>
            </a:r>
          </a:p>
        </p:txBody>
      </p:sp>
      <p:sp>
        <p:nvSpPr>
          <p:cNvPr id="32" name="Text Placeholder 27">
            <a:extLst>
              <a:ext uri="{FF2B5EF4-FFF2-40B4-BE49-F238E27FC236}">
                <a16:creationId xmlns:a16="http://schemas.microsoft.com/office/drawing/2014/main" id="{3A3F9D5D-A5CF-482B-A14C-E5BFADB76F7A}"/>
              </a:ext>
            </a:extLst>
          </p:cNvPr>
          <p:cNvSpPr>
            <a:spLocks noGrp="1"/>
          </p:cNvSpPr>
          <p:nvPr>
            <p:ph type="body" sz="quarter" idx="21"/>
          </p:nvPr>
        </p:nvSpPr>
        <p:spPr>
          <a:xfrm>
            <a:off x="6576021" y="5124103"/>
            <a:ext cx="1790700" cy="350292"/>
          </a:xfrm>
        </p:spPr>
        <p:txBody>
          <a:bodyPr>
            <a:normAutofit/>
          </a:bodyPr>
          <a:lstStyle>
            <a:lvl1pPr algn="ctr">
              <a:defRPr lang="en-US" sz="1800" kern="1200" dirty="0" smtClean="0">
                <a:solidFill>
                  <a:schemeClr val="tx1"/>
                </a:solidFill>
                <a:latin typeface="+mn-lt"/>
                <a:ea typeface="+mn-ea"/>
                <a:cs typeface="+mn-cs"/>
              </a:defRPr>
            </a:lvl1pPr>
            <a:lvl2pPr marL="0" indent="0">
              <a:buNone/>
              <a:defRPr/>
            </a:lvl2pPr>
          </a:lstStyle>
          <a:p>
            <a:pPr lvl="0"/>
            <a:r>
              <a:rPr lang="en-US"/>
              <a:t>Click to edit Master text styles</a:t>
            </a:r>
          </a:p>
        </p:txBody>
      </p:sp>
      <p:sp>
        <p:nvSpPr>
          <p:cNvPr id="33" name="Text Placeholder 27">
            <a:extLst>
              <a:ext uri="{FF2B5EF4-FFF2-40B4-BE49-F238E27FC236}">
                <a16:creationId xmlns:a16="http://schemas.microsoft.com/office/drawing/2014/main" id="{A4F265B4-1FBB-4396-A938-862D45713AEB}"/>
              </a:ext>
            </a:extLst>
          </p:cNvPr>
          <p:cNvSpPr>
            <a:spLocks noGrp="1"/>
          </p:cNvSpPr>
          <p:nvPr>
            <p:ph type="body" sz="quarter" idx="22"/>
          </p:nvPr>
        </p:nvSpPr>
        <p:spPr>
          <a:xfrm>
            <a:off x="6576021" y="5458421"/>
            <a:ext cx="1790700" cy="350292"/>
          </a:xfrm>
        </p:spPr>
        <p:txBody>
          <a:bodyPr>
            <a:noAutofit/>
          </a:bodyPr>
          <a:lstStyle>
            <a:lvl1pPr algn="ctr">
              <a:defRPr lang="en-US" sz="1400" kern="1200" dirty="0" smtClean="0">
                <a:solidFill>
                  <a:schemeClr val="tx1"/>
                </a:solidFill>
                <a:latin typeface="+mn-lt"/>
                <a:ea typeface="+mn-ea"/>
                <a:cs typeface="+mn-cs"/>
              </a:defRPr>
            </a:lvl1pPr>
            <a:lvl2pPr marL="0" indent="0">
              <a:buNone/>
              <a:defRPr/>
            </a:lvl2pPr>
          </a:lstStyle>
          <a:p>
            <a:pPr lvl="0"/>
            <a:r>
              <a:rPr lang="en-US"/>
              <a:t>Click to edit Master text styles</a:t>
            </a:r>
          </a:p>
        </p:txBody>
      </p:sp>
      <p:sp>
        <p:nvSpPr>
          <p:cNvPr id="34" name="Text Placeholder 27">
            <a:extLst>
              <a:ext uri="{FF2B5EF4-FFF2-40B4-BE49-F238E27FC236}">
                <a16:creationId xmlns:a16="http://schemas.microsoft.com/office/drawing/2014/main" id="{AC1BA7DC-98B0-4261-8F1E-8101FB5D480E}"/>
              </a:ext>
            </a:extLst>
          </p:cNvPr>
          <p:cNvSpPr>
            <a:spLocks noGrp="1"/>
          </p:cNvSpPr>
          <p:nvPr>
            <p:ph type="body" sz="quarter" idx="23"/>
          </p:nvPr>
        </p:nvSpPr>
        <p:spPr>
          <a:xfrm>
            <a:off x="9334500" y="5124103"/>
            <a:ext cx="1790700" cy="350292"/>
          </a:xfrm>
        </p:spPr>
        <p:txBody>
          <a:bodyPr>
            <a:normAutofit/>
          </a:bodyPr>
          <a:lstStyle>
            <a:lvl1pPr algn="ctr">
              <a:defRPr lang="en-US" sz="1800" kern="1200" dirty="0" smtClean="0">
                <a:solidFill>
                  <a:schemeClr val="tx1"/>
                </a:solidFill>
                <a:latin typeface="+mn-lt"/>
                <a:ea typeface="+mn-ea"/>
                <a:cs typeface="+mn-cs"/>
              </a:defRPr>
            </a:lvl1pPr>
            <a:lvl2pPr marL="0" indent="0">
              <a:buNone/>
              <a:defRPr/>
            </a:lvl2pPr>
          </a:lstStyle>
          <a:p>
            <a:pPr lvl="0"/>
            <a:r>
              <a:rPr lang="en-US"/>
              <a:t>Click to edit Master text styles</a:t>
            </a:r>
          </a:p>
        </p:txBody>
      </p:sp>
      <p:sp>
        <p:nvSpPr>
          <p:cNvPr id="35" name="Text Placeholder 27">
            <a:extLst>
              <a:ext uri="{FF2B5EF4-FFF2-40B4-BE49-F238E27FC236}">
                <a16:creationId xmlns:a16="http://schemas.microsoft.com/office/drawing/2014/main" id="{2E4EF69E-34E2-46FF-A0FA-3F136396D3EF}"/>
              </a:ext>
            </a:extLst>
          </p:cNvPr>
          <p:cNvSpPr>
            <a:spLocks noGrp="1"/>
          </p:cNvSpPr>
          <p:nvPr>
            <p:ph type="body" sz="quarter" idx="24"/>
          </p:nvPr>
        </p:nvSpPr>
        <p:spPr>
          <a:xfrm>
            <a:off x="9334500" y="5458421"/>
            <a:ext cx="1790700" cy="350292"/>
          </a:xfrm>
        </p:spPr>
        <p:txBody>
          <a:bodyPr>
            <a:noAutofit/>
          </a:bodyPr>
          <a:lstStyle>
            <a:lvl1pPr algn="ctr">
              <a:defRPr lang="en-US" sz="1400" kern="1200" dirty="0" smtClean="0">
                <a:solidFill>
                  <a:schemeClr val="tx1"/>
                </a:solidFill>
                <a:latin typeface="+mn-lt"/>
                <a:ea typeface="+mn-ea"/>
                <a:cs typeface="+mn-cs"/>
              </a:defRPr>
            </a:lvl1pPr>
            <a:lvl2pPr marL="0" indent="0">
              <a:buNone/>
              <a:defRPr/>
            </a:lvl2pPr>
          </a:lstStyle>
          <a:p>
            <a:pPr lvl="0"/>
            <a:r>
              <a:rPr lang="en-US"/>
              <a:t>Click to edit Master text styles</a:t>
            </a:r>
          </a:p>
        </p:txBody>
      </p:sp>
      <p:sp>
        <p:nvSpPr>
          <p:cNvPr id="7" name="Footer Placeholder 6">
            <a:extLst>
              <a:ext uri="{FF2B5EF4-FFF2-40B4-BE49-F238E27FC236}">
                <a16:creationId xmlns:a16="http://schemas.microsoft.com/office/drawing/2014/main" id="{9E945AB7-1A32-4516-ABF9-B40958AE2E73}"/>
              </a:ext>
            </a:extLst>
          </p:cNvPr>
          <p:cNvSpPr>
            <a:spLocks noGrp="1"/>
          </p:cNvSpPr>
          <p:nvPr>
            <p:ph type="ftr" sz="quarter" idx="11"/>
          </p:nvPr>
        </p:nvSpPr>
        <p:spPr>
          <a:xfrm>
            <a:off x="960120" y="6356350"/>
            <a:ext cx="3417916" cy="365125"/>
          </a:xfrm>
        </p:spPr>
        <p:txBody>
          <a:bodyPr/>
          <a:lstStyle/>
          <a:p>
            <a:r>
              <a:rPr lang="en-US" dirty="0"/>
              <a:t>Sample Footer Text</a:t>
            </a:r>
          </a:p>
        </p:txBody>
      </p:sp>
      <p:sp>
        <p:nvSpPr>
          <p:cNvPr id="6" name="Date Placeholder 5">
            <a:extLst>
              <a:ext uri="{FF2B5EF4-FFF2-40B4-BE49-F238E27FC236}">
                <a16:creationId xmlns:a16="http://schemas.microsoft.com/office/drawing/2014/main" id="{F1C53797-8D72-4774-AC93-EB9FDD650CCD}"/>
              </a:ext>
            </a:extLst>
          </p:cNvPr>
          <p:cNvSpPr>
            <a:spLocks noGrp="1"/>
          </p:cNvSpPr>
          <p:nvPr>
            <p:ph type="dt" sz="half" idx="10"/>
          </p:nvPr>
        </p:nvSpPr>
        <p:spPr>
          <a:xfrm>
            <a:off x="4477512" y="6356350"/>
            <a:ext cx="3236976" cy="365125"/>
          </a:xfrm>
        </p:spPr>
        <p:txBody>
          <a:bodyPr/>
          <a:lstStyle>
            <a:lvl1pPr algn="ctr">
              <a:defRPr/>
            </a:lvl1pPr>
          </a:lstStyle>
          <a:p>
            <a:r>
              <a:rPr lang="en-US" dirty="0"/>
              <a:t>20XX</a:t>
            </a:r>
          </a:p>
        </p:txBody>
      </p:sp>
      <p:sp>
        <p:nvSpPr>
          <p:cNvPr id="8" name="Slide Number Placeholder 7">
            <a:extLst>
              <a:ext uri="{FF2B5EF4-FFF2-40B4-BE49-F238E27FC236}">
                <a16:creationId xmlns:a16="http://schemas.microsoft.com/office/drawing/2014/main" id="{B22923C3-1D67-4089-A6B1-9A10315E807F}"/>
              </a:ext>
            </a:extLst>
          </p:cNvPr>
          <p:cNvSpPr>
            <a:spLocks noGrp="1"/>
          </p:cNvSpPr>
          <p:nvPr>
            <p:ph type="sldNum" sz="quarter" idx="12"/>
          </p:nvPr>
        </p:nvSpPr>
        <p:spPr/>
        <p:txBody>
          <a:bodyPr/>
          <a:lstStyle/>
          <a:p>
            <a:fld id="{294A09A9-5501-47C1-A89A-A340965A2BE2}" type="slidenum">
              <a:rPr lang="en-US" smtClean="0"/>
              <a:t>‹#›</a:t>
            </a:fld>
            <a:endParaRPr lang="en-US" dirty="0"/>
          </a:p>
        </p:txBody>
      </p:sp>
    </p:spTree>
    <p:extLst>
      <p:ext uri="{BB962C8B-B14F-4D97-AF65-F5344CB8AC3E}">
        <p14:creationId xmlns:p14="http://schemas.microsoft.com/office/powerpoint/2010/main" val="37646855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FB62259C-ADDF-4293-AD3B-AB2E04A7483B}"/>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E287D32C-166A-4FBE-B24D-C25769095429}"/>
              </a:ext>
            </a:extLst>
          </p:cNvPr>
          <p:cNvSpPr>
            <a:spLocks noGrp="1"/>
          </p:cNvSpPr>
          <p:nvPr>
            <p:ph type="body" idx="1"/>
          </p:nvPr>
        </p:nvSpPr>
        <p:spPr>
          <a:xfrm>
            <a:off x="960121" y="2587752"/>
            <a:ext cx="4818888" cy="892048"/>
          </a:xfrm>
        </p:spPr>
        <p:txBody>
          <a:bodyPr anchor="ctr"/>
          <a:lstStyle>
            <a:lvl1pPr marL="0" indent="0">
              <a:buNone/>
              <a:defRPr sz="2600" b="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A9EC567-F249-462A-B71A-9C40D50E26AA}"/>
              </a:ext>
            </a:extLst>
          </p:cNvPr>
          <p:cNvSpPr>
            <a:spLocks noGrp="1"/>
          </p:cNvSpPr>
          <p:nvPr>
            <p:ph sz="half" idx="2"/>
          </p:nvPr>
        </p:nvSpPr>
        <p:spPr>
          <a:xfrm>
            <a:off x="960120" y="3594538"/>
            <a:ext cx="4818888" cy="2586806"/>
          </a:xfrm>
        </p:spPr>
        <p:txBody>
          <a:bodyPr>
            <a:normAutofit/>
          </a:bodyPr>
          <a:lstStyle>
            <a:lvl1pPr marL="342900" indent="-342900">
              <a:buFont typeface="Arial" panose="020B0604020202020204" pitchFamily="34" charset="0"/>
              <a:buChar char="•"/>
              <a:defRPr sz="2000"/>
            </a:lvl1pPr>
            <a:lvl2pPr>
              <a:defRPr sz="1800"/>
            </a:lvl2pPr>
            <a:lvl3pPr marL="560070" indent="-285750">
              <a:buFont typeface="Arial" panose="020B0604020202020204" pitchFamily="34" charset="0"/>
              <a:buChar char="•"/>
              <a:defRPr sz="1400"/>
            </a:lvl3pPr>
            <a:lvl4pPr>
              <a:defRPr sz="1400"/>
            </a:lvl4pPr>
            <a:lvl5pPr marL="880110" indent="-28575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3BB7D2C6-69D1-4DE4-BF68-5FB0623DB9E3}"/>
              </a:ext>
            </a:extLst>
          </p:cNvPr>
          <p:cNvSpPr>
            <a:spLocks noGrp="1"/>
          </p:cNvSpPr>
          <p:nvPr>
            <p:ph type="body" sz="quarter" idx="3"/>
          </p:nvPr>
        </p:nvSpPr>
        <p:spPr>
          <a:xfrm>
            <a:off x="6409944" y="2587752"/>
            <a:ext cx="4818888" cy="892048"/>
          </a:xfrm>
        </p:spPr>
        <p:txBody>
          <a:bodyPr anchor="ctr"/>
          <a:lstStyle>
            <a:lvl1pPr marL="0" indent="0">
              <a:buNone/>
              <a:defRPr sz="2600" b="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3367CC7-ED09-4F8D-A39A-C5969D33B9F8}"/>
              </a:ext>
            </a:extLst>
          </p:cNvPr>
          <p:cNvSpPr>
            <a:spLocks noGrp="1"/>
          </p:cNvSpPr>
          <p:nvPr>
            <p:ph sz="quarter" idx="4"/>
          </p:nvPr>
        </p:nvSpPr>
        <p:spPr>
          <a:xfrm>
            <a:off x="6409944" y="3594538"/>
            <a:ext cx="4818888" cy="2586806"/>
          </a:xfrm>
        </p:spPr>
        <p:txBody>
          <a:bodyPr>
            <a:normAutofit/>
          </a:bodyPr>
          <a:lstStyle>
            <a:lvl1pPr marL="342900" indent="-342900">
              <a:buFont typeface="Arial" panose="020B0604020202020204" pitchFamily="34" charset="0"/>
              <a:buChar char="•"/>
              <a:defRPr sz="2000"/>
            </a:lvl1pPr>
            <a:lvl2pPr>
              <a:defRPr sz="1800"/>
            </a:lvl2pPr>
            <a:lvl3pPr marL="560070" indent="-285750">
              <a:buFont typeface="Arial" panose="020B0604020202020204" pitchFamily="34" charset="0"/>
              <a:buChar char="•"/>
              <a:defRPr sz="1400"/>
            </a:lvl3pPr>
            <a:lvl4pPr>
              <a:defRPr sz="1400"/>
            </a:lvl4pPr>
            <a:lvl5pPr marL="880110" indent="-28575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10">
            <a:extLst>
              <a:ext uri="{FF2B5EF4-FFF2-40B4-BE49-F238E27FC236}">
                <a16:creationId xmlns:a16="http://schemas.microsoft.com/office/drawing/2014/main" id="{3ACC79DA-A9E4-4E93-93F1-81907A901BBB}"/>
              </a:ext>
            </a:extLst>
          </p:cNvPr>
          <p:cNvSpPr>
            <a:spLocks noGrp="1"/>
          </p:cNvSpPr>
          <p:nvPr>
            <p:ph type="ftr" sz="quarter" idx="11"/>
          </p:nvPr>
        </p:nvSpPr>
        <p:spPr>
          <a:xfrm>
            <a:off x="960120" y="6356350"/>
            <a:ext cx="3593407" cy="365125"/>
          </a:xfrm>
        </p:spPr>
        <p:txBody>
          <a:bodyPr/>
          <a:lstStyle/>
          <a:p>
            <a:r>
              <a:rPr lang="en-US" dirty="0"/>
              <a:t>Sample Footer Text</a:t>
            </a:r>
          </a:p>
        </p:txBody>
      </p:sp>
      <p:sp>
        <p:nvSpPr>
          <p:cNvPr id="10" name="Date Placeholder 9">
            <a:extLst>
              <a:ext uri="{FF2B5EF4-FFF2-40B4-BE49-F238E27FC236}">
                <a16:creationId xmlns:a16="http://schemas.microsoft.com/office/drawing/2014/main" id="{5F92A44F-DE98-4FB5-B474-5DCCDD267A79}"/>
              </a:ext>
            </a:extLst>
          </p:cNvPr>
          <p:cNvSpPr>
            <a:spLocks noGrp="1"/>
          </p:cNvSpPr>
          <p:nvPr>
            <p:ph type="dt" sz="half" idx="10"/>
          </p:nvPr>
        </p:nvSpPr>
        <p:spPr>
          <a:xfrm>
            <a:off x="4477512" y="6356350"/>
            <a:ext cx="3236976" cy="365125"/>
          </a:xfrm>
        </p:spPr>
        <p:txBody>
          <a:bodyPr/>
          <a:lstStyle>
            <a:lvl1pPr algn="ctr">
              <a:defRPr/>
            </a:lvl1pPr>
          </a:lstStyle>
          <a:p>
            <a:r>
              <a:rPr lang="en-US" dirty="0"/>
              <a:t>20XX</a:t>
            </a:r>
          </a:p>
        </p:txBody>
      </p:sp>
      <p:sp>
        <p:nvSpPr>
          <p:cNvPr id="12" name="Slide Number Placeholder 11">
            <a:extLst>
              <a:ext uri="{FF2B5EF4-FFF2-40B4-BE49-F238E27FC236}">
                <a16:creationId xmlns:a16="http://schemas.microsoft.com/office/drawing/2014/main" id="{404DFE57-AA80-4ED8-AD77-35CC56F3FBC6}"/>
              </a:ext>
            </a:extLst>
          </p:cNvPr>
          <p:cNvSpPr>
            <a:spLocks noGrp="1"/>
          </p:cNvSpPr>
          <p:nvPr>
            <p:ph type="sldNum" sz="quarter" idx="12"/>
          </p:nvPr>
        </p:nvSpPr>
        <p:spPr/>
        <p:txBody>
          <a:bodyPr/>
          <a:lstStyle/>
          <a:p>
            <a:fld id="{294A09A9-5501-47C1-A89A-A340965A2BE2}" type="slidenum">
              <a:rPr lang="en-US" smtClean="0"/>
              <a:t>‹#›</a:t>
            </a:fld>
            <a:endParaRPr lang="en-US" dirty="0"/>
          </a:p>
        </p:txBody>
      </p:sp>
    </p:spTree>
    <p:extLst>
      <p:ext uri="{BB962C8B-B14F-4D97-AF65-F5344CB8AC3E}">
        <p14:creationId xmlns:p14="http://schemas.microsoft.com/office/powerpoint/2010/main" val="15230210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3 column ">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FB62259C-ADDF-4293-AD3B-AB2E04A7483B}"/>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E287D32C-166A-4FBE-B24D-C25769095429}"/>
              </a:ext>
            </a:extLst>
          </p:cNvPr>
          <p:cNvSpPr>
            <a:spLocks noGrp="1"/>
          </p:cNvSpPr>
          <p:nvPr>
            <p:ph type="body" idx="1"/>
          </p:nvPr>
        </p:nvSpPr>
        <p:spPr>
          <a:xfrm>
            <a:off x="960121" y="2587752"/>
            <a:ext cx="3236976" cy="892048"/>
          </a:xfrm>
        </p:spPr>
        <p:txBody>
          <a:bodyPr anchor="ctr"/>
          <a:lstStyle>
            <a:lvl1pPr marL="0" indent="0">
              <a:buNone/>
              <a:defRPr sz="2600" b="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A9EC567-F249-462A-B71A-9C40D50E26AA}"/>
              </a:ext>
            </a:extLst>
          </p:cNvPr>
          <p:cNvSpPr>
            <a:spLocks noGrp="1"/>
          </p:cNvSpPr>
          <p:nvPr>
            <p:ph sz="half" idx="2"/>
          </p:nvPr>
        </p:nvSpPr>
        <p:spPr>
          <a:xfrm>
            <a:off x="960120" y="3594538"/>
            <a:ext cx="3236976" cy="2586806"/>
          </a:xfrm>
        </p:spPr>
        <p:txBody>
          <a:bodyPr>
            <a:normAutofit/>
          </a:bodyPr>
          <a:lstStyle>
            <a:lvl1pPr marL="342900" indent="-342900">
              <a:buFont typeface="Arial" panose="020B0604020202020204" pitchFamily="34" charset="0"/>
              <a:buChar char="•"/>
              <a:defRPr sz="1700"/>
            </a:lvl1pPr>
            <a:lvl2pPr>
              <a:defRPr sz="1800"/>
            </a:lvl2pPr>
            <a:lvl3pPr marL="560070" indent="-285750">
              <a:buFont typeface="Arial" panose="020B0604020202020204" pitchFamily="34" charset="0"/>
              <a:buChar char="•"/>
              <a:defRPr sz="1400"/>
            </a:lvl3pPr>
            <a:lvl4pPr>
              <a:defRPr sz="1400"/>
            </a:lvl4pPr>
            <a:lvl5pPr marL="880110" indent="-285750">
              <a:buFont typeface="Arial" panose="020B0604020202020204" pitchFamily="34" charset="0"/>
              <a:buChar char="•"/>
              <a:defRPr sz="1400"/>
            </a:lvl5pPr>
          </a:lstStyle>
          <a:p>
            <a:pPr lvl="0"/>
            <a:r>
              <a:rPr lang="en-US"/>
              <a:t>Click to edit Master text styles</a:t>
            </a:r>
          </a:p>
        </p:txBody>
      </p:sp>
      <p:sp>
        <p:nvSpPr>
          <p:cNvPr id="5" name="Text Placeholder 4">
            <a:extLst>
              <a:ext uri="{FF2B5EF4-FFF2-40B4-BE49-F238E27FC236}">
                <a16:creationId xmlns:a16="http://schemas.microsoft.com/office/drawing/2014/main" id="{3BB7D2C6-69D1-4DE4-BF68-5FB0623DB9E3}"/>
              </a:ext>
            </a:extLst>
          </p:cNvPr>
          <p:cNvSpPr>
            <a:spLocks noGrp="1"/>
          </p:cNvSpPr>
          <p:nvPr>
            <p:ph type="body" sz="quarter" idx="3"/>
          </p:nvPr>
        </p:nvSpPr>
        <p:spPr>
          <a:xfrm>
            <a:off x="4477512" y="2587752"/>
            <a:ext cx="3236976" cy="892048"/>
          </a:xfrm>
        </p:spPr>
        <p:txBody>
          <a:bodyPr anchor="ctr"/>
          <a:lstStyle>
            <a:lvl1pPr marL="0" indent="0">
              <a:buNone/>
              <a:defRPr sz="2600" b="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3367CC7-ED09-4F8D-A39A-C5969D33B9F8}"/>
              </a:ext>
            </a:extLst>
          </p:cNvPr>
          <p:cNvSpPr>
            <a:spLocks noGrp="1"/>
          </p:cNvSpPr>
          <p:nvPr>
            <p:ph sz="quarter" idx="4"/>
          </p:nvPr>
        </p:nvSpPr>
        <p:spPr>
          <a:xfrm>
            <a:off x="4477512" y="3594538"/>
            <a:ext cx="3236976" cy="2586806"/>
          </a:xfrm>
        </p:spPr>
        <p:txBody>
          <a:bodyPr>
            <a:normAutofit/>
          </a:bodyPr>
          <a:lstStyle>
            <a:lvl1pPr marL="342900" indent="-342900">
              <a:buFont typeface="Arial" panose="020B0604020202020204" pitchFamily="34" charset="0"/>
              <a:buChar char="•"/>
              <a:defRPr sz="1700"/>
            </a:lvl1pPr>
            <a:lvl2pPr>
              <a:defRPr sz="1800"/>
            </a:lvl2pPr>
            <a:lvl3pPr marL="560070" indent="-285750">
              <a:buFont typeface="Arial" panose="020B0604020202020204" pitchFamily="34" charset="0"/>
              <a:buChar char="•"/>
              <a:defRPr sz="1400"/>
            </a:lvl3pPr>
            <a:lvl4pPr>
              <a:defRPr sz="1400"/>
            </a:lvl4pPr>
            <a:lvl5pPr marL="880110" indent="-285750">
              <a:buFont typeface="Arial" panose="020B0604020202020204" pitchFamily="34" charset="0"/>
              <a:buChar char="•"/>
              <a:defRPr sz="1400"/>
            </a:lvl5pPr>
          </a:lstStyle>
          <a:p>
            <a:pPr lvl="0"/>
            <a:r>
              <a:rPr lang="en-US"/>
              <a:t>Click to edit Master text styles</a:t>
            </a:r>
          </a:p>
        </p:txBody>
      </p:sp>
      <p:sp>
        <p:nvSpPr>
          <p:cNvPr id="14" name="Text Placeholder 4">
            <a:extLst>
              <a:ext uri="{FF2B5EF4-FFF2-40B4-BE49-F238E27FC236}">
                <a16:creationId xmlns:a16="http://schemas.microsoft.com/office/drawing/2014/main" id="{9054C03E-8FD4-4345-A971-0A2CCF5C4AA3}"/>
              </a:ext>
            </a:extLst>
          </p:cNvPr>
          <p:cNvSpPr>
            <a:spLocks noGrp="1"/>
          </p:cNvSpPr>
          <p:nvPr>
            <p:ph type="body" sz="quarter" idx="13"/>
          </p:nvPr>
        </p:nvSpPr>
        <p:spPr>
          <a:xfrm>
            <a:off x="7994903" y="2587752"/>
            <a:ext cx="3236976" cy="892048"/>
          </a:xfrm>
        </p:spPr>
        <p:txBody>
          <a:bodyPr anchor="ctr"/>
          <a:lstStyle>
            <a:lvl1pPr marL="0" indent="0">
              <a:buNone/>
              <a:defRPr sz="2600" b="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5" name="Content Placeholder 5">
            <a:extLst>
              <a:ext uri="{FF2B5EF4-FFF2-40B4-BE49-F238E27FC236}">
                <a16:creationId xmlns:a16="http://schemas.microsoft.com/office/drawing/2014/main" id="{56D09A0C-509F-447E-AFB1-5531727D7DFF}"/>
              </a:ext>
            </a:extLst>
          </p:cNvPr>
          <p:cNvSpPr>
            <a:spLocks noGrp="1"/>
          </p:cNvSpPr>
          <p:nvPr>
            <p:ph sz="quarter" idx="14"/>
          </p:nvPr>
        </p:nvSpPr>
        <p:spPr>
          <a:xfrm>
            <a:off x="7994903" y="3594538"/>
            <a:ext cx="3236976" cy="2586806"/>
          </a:xfrm>
        </p:spPr>
        <p:txBody>
          <a:bodyPr>
            <a:normAutofit/>
          </a:bodyPr>
          <a:lstStyle>
            <a:lvl1pPr marL="342900" indent="-342900">
              <a:buFont typeface="Arial" panose="020B0604020202020204" pitchFamily="34" charset="0"/>
              <a:buChar char="•"/>
              <a:defRPr sz="1700"/>
            </a:lvl1pPr>
            <a:lvl2pPr>
              <a:defRPr sz="1800"/>
            </a:lvl2pPr>
            <a:lvl3pPr marL="560070" indent="-285750">
              <a:buFont typeface="Arial" panose="020B0604020202020204" pitchFamily="34" charset="0"/>
              <a:buChar char="•"/>
              <a:defRPr sz="1400"/>
            </a:lvl3pPr>
            <a:lvl4pPr>
              <a:defRPr sz="1400"/>
            </a:lvl4pPr>
            <a:lvl5pPr marL="880110" indent="-285750">
              <a:buFont typeface="Arial" panose="020B0604020202020204" pitchFamily="34" charset="0"/>
              <a:buChar char="•"/>
              <a:defRPr sz="1400"/>
            </a:lvl5pPr>
          </a:lstStyle>
          <a:p>
            <a:pPr lvl="0"/>
            <a:r>
              <a:rPr lang="en-US"/>
              <a:t>Click to edit Master text styles</a:t>
            </a:r>
          </a:p>
        </p:txBody>
      </p:sp>
      <p:sp>
        <p:nvSpPr>
          <p:cNvPr id="11" name="Footer Placeholder 10">
            <a:extLst>
              <a:ext uri="{FF2B5EF4-FFF2-40B4-BE49-F238E27FC236}">
                <a16:creationId xmlns:a16="http://schemas.microsoft.com/office/drawing/2014/main" id="{3ACC79DA-A9E4-4E93-93F1-81907A901BBB}"/>
              </a:ext>
            </a:extLst>
          </p:cNvPr>
          <p:cNvSpPr>
            <a:spLocks noGrp="1"/>
          </p:cNvSpPr>
          <p:nvPr>
            <p:ph type="ftr" sz="quarter" idx="11"/>
          </p:nvPr>
        </p:nvSpPr>
        <p:spPr>
          <a:xfrm>
            <a:off x="960120" y="6356350"/>
            <a:ext cx="3417916" cy="365125"/>
          </a:xfrm>
        </p:spPr>
        <p:txBody>
          <a:bodyPr/>
          <a:lstStyle/>
          <a:p>
            <a:r>
              <a:rPr lang="en-US" dirty="0"/>
              <a:t>Sample Footer Text</a:t>
            </a:r>
          </a:p>
        </p:txBody>
      </p:sp>
      <p:sp>
        <p:nvSpPr>
          <p:cNvPr id="10" name="Date Placeholder 9">
            <a:extLst>
              <a:ext uri="{FF2B5EF4-FFF2-40B4-BE49-F238E27FC236}">
                <a16:creationId xmlns:a16="http://schemas.microsoft.com/office/drawing/2014/main" id="{5F92A44F-DE98-4FB5-B474-5DCCDD267A79}"/>
              </a:ext>
            </a:extLst>
          </p:cNvPr>
          <p:cNvSpPr>
            <a:spLocks noGrp="1"/>
          </p:cNvSpPr>
          <p:nvPr>
            <p:ph type="dt" sz="half" idx="10"/>
          </p:nvPr>
        </p:nvSpPr>
        <p:spPr>
          <a:xfrm>
            <a:off x="4477512" y="6356350"/>
            <a:ext cx="3236976" cy="365125"/>
          </a:xfrm>
        </p:spPr>
        <p:txBody>
          <a:bodyPr/>
          <a:lstStyle>
            <a:lvl1pPr algn="ctr">
              <a:defRPr/>
            </a:lvl1pPr>
          </a:lstStyle>
          <a:p>
            <a:r>
              <a:rPr lang="en-US" dirty="0"/>
              <a:t>20XX</a:t>
            </a:r>
          </a:p>
        </p:txBody>
      </p:sp>
      <p:sp>
        <p:nvSpPr>
          <p:cNvPr id="12" name="Slide Number Placeholder 11">
            <a:extLst>
              <a:ext uri="{FF2B5EF4-FFF2-40B4-BE49-F238E27FC236}">
                <a16:creationId xmlns:a16="http://schemas.microsoft.com/office/drawing/2014/main" id="{404DFE57-AA80-4ED8-AD77-35CC56F3FBC6}"/>
              </a:ext>
            </a:extLst>
          </p:cNvPr>
          <p:cNvSpPr>
            <a:spLocks noGrp="1"/>
          </p:cNvSpPr>
          <p:nvPr>
            <p:ph type="sldNum" sz="quarter" idx="12"/>
          </p:nvPr>
        </p:nvSpPr>
        <p:spPr/>
        <p:txBody>
          <a:bodyPr/>
          <a:lstStyle/>
          <a:p>
            <a:fld id="{294A09A9-5501-47C1-A89A-A340965A2BE2}" type="slidenum">
              <a:rPr lang="en-US" smtClean="0"/>
              <a:t>‹#›</a:t>
            </a:fld>
            <a:endParaRPr lang="en-US" dirty="0"/>
          </a:p>
        </p:txBody>
      </p:sp>
    </p:spTree>
    <p:extLst>
      <p:ext uri="{BB962C8B-B14F-4D97-AF65-F5344CB8AC3E}">
        <p14:creationId xmlns:p14="http://schemas.microsoft.com/office/powerpoint/2010/main" val="39404599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ED09CFC-82D4-4AE4-B225-6CFB41220EA4}"/>
              </a:ext>
            </a:extLst>
          </p:cNvPr>
          <p:cNvGraphicFramePr>
            <a:graphicFrameLocks noChangeAspect="1"/>
          </p:cNvGraphicFramePr>
          <p:nvPr userDrawn="1">
            <p:custDataLst>
              <p:tags r:id="rId13"/>
            </p:custDataLst>
            <p:extLst>
              <p:ext uri="{D42A27DB-BD31-4B8C-83A1-F6EECF244321}">
                <p14:modId xmlns:p14="http://schemas.microsoft.com/office/powerpoint/2010/main" val="498301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9" name="Object 8" hidden="1">
                        <a:extLst>
                          <a:ext uri="{FF2B5EF4-FFF2-40B4-BE49-F238E27FC236}">
                            <a16:creationId xmlns:a16="http://schemas.microsoft.com/office/drawing/2014/main" id="{FED09CFC-82D4-4AE4-B225-6CFB41220EA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D153959-30FA-4987-A094-7243641F474B}"/>
              </a:ext>
            </a:extLst>
          </p:cNvPr>
          <p:cNvSpPr/>
          <p:nvPr/>
        </p:nvSpPr>
        <p:spPr>
          <a:xfrm>
            <a:off x="0" y="0"/>
            <a:ext cx="12192000" cy="22649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50216229-A6DB-436A-B327-667E80F0A563}"/>
              </a:ext>
            </a:extLst>
          </p:cNvPr>
          <p:cNvSpPr>
            <a:spLocks noGrp="1"/>
          </p:cNvSpPr>
          <p:nvPr>
            <p:ph type="title"/>
          </p:nvPr>
        </p:nvSpPr>
        <p:spPr>
          <a:xfrm>
            <a:off x="960120" y="317814"/>
            <a:ext cx="10268712" cy="170078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B2B351D-270D-480D-8AF5-6A213ED2B3FB}"/>
              </a:ext>
            </a:extLst>
          </p:cNvPr>
          <p:cNvSpPr>
            <a:spLocks noGrp="1"/>
          </p:cNvSpPr>
          <p:nvPr>
            <p:ph type="body" idx="1"/>
          </p:nvPr>
        </p:nvSpPr>
        <p:spPr>
          <a:xfrm>
            <a:off x="960120" y="2587752"/>
            <a:ext cx="10268712" cy="359359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E1EB0E73-3310-4A8F-BB4A-7A6A99121A61}"/>
              </a:ext>
            </a:extLst>
          </p:cNvPr>
          <p:cNvSpPr>
            <a:spLocks noGrp="1"/>
          </p:cNvSpPr>
          <p:nvPr>
            <p:ph type="dt" sz="half" idx="2"/>
          </p:nvPr>
        </p:nvSpPr>
        <p:spPr>
          <a:xfrm>
            <a:off x="6903720" y="6356350"/>
            <a:ext cx="3236976" cy="365125"/>
          </a:xfrm>
          <a:prstGeom prst="rect">
            <a:avLst/>
          </a:prstGeom>
        </p:spPr>
        <p:txBody>
          <a:bodyPr vert="horz" lIns="91440" tIns="45720" rIns="91440" bIns="45720" rtlCol="0" anchor="ctr"/>
          <a:lstStyle>
            <a:lvl1pPr algn="just">
              <a:defRPr sz="1200" spc="50" baseline="0">
                <a:solidFill>
                  <a:schemeClr val="tx1"/>
                </a:solidFill>
              </a:defRPr>
            </a:lvl1pPr>
          </a:lstStyle>
          <a:p>
            <a:r>
              <a:rPr lang="en-US" dirty="0"/>
              <a:t>20XX</a:t>
            </a:r>
          </a:p>
        </p:txBody>
      </p:sp>
      <p:sp>
        <p:nvSpPr>
          <p:cNvPr id="5" name="Footer Placeholder 4">
            <a:extLst>
              <a:ext uri="{FF2B5EF4-FFF2-40B4-BE49-F238E27FC236}">
                <a16:creationId xmlns:a16="http://schemas.microsoft.com/office/drawing/2014/main" id="{1381C4C0-515B-4404-A780-C31E7DFE54A4}"/>
              </a:ext>
            </a:extLst>
          </p:cNvPr>
          <p:cNvSpPr>
            <a:spLocks noGrp="1"/>
          </p:cNvSpPr>
          <p:nvPr>
            <p:ph type="ftr" sz="quarter" idx="3"/>
          </p:nvPr>
        </p:nvSpPr>
        <p:spPr>
          <a:xfrm>
            <a:off x="960120" y="6356350"/>
            <a:ext cx="5504688" cy="365125"/>
          </a:xfrm>
          <a:prstGeom prst="rect">
            <a:avLst/>
          </a:prstGeom>
        </p:spPr>
        <p:txBody>
          <a:bodyPr vert="horz" lIns="91440" tIns="45720" rIns="91440" bIns="45720" rtlCol="0" anchor="ctr"/>
          <a:lstStyle>
            <a:lvl1pPr algn="l">
              <a:defRPr sz="1100" cap="all" spc="50" baseline="0">
                <a:solidFill>
                  <a:schemeClr val="tx1"/>
                </a:solidFill>
              </a:defRPr>
            </a:lvl1pPr>
          </a:lstStyle>
          <a:p>
            <a:r>
              <a:rPr lang="en-US" dirty="0"/>
              <a:t>Sample Footer Text</a:t>
            </a:r>
          </a:p>
        </p:txBody>
      </p:sp>
      <p:sp>
        <p:nvSpPr>
          <p:cNvPr id="6" name="Slide Number Placeholder 5">
            <a:extLst>
              <a:ext uri="{FF2B5EF4-FFF2-40B4-BE49-F238E27FC236}">
                <a16:creationId xmlns:a16="http://schemas.microsoft.com/office/drawing/2014/main" id="{944C30C7-F013-428C-A6F7-A8CCCD14CEF4}"/>
              </a:ext>
            </a:extLst>
          </p:cNvPr>
          <p:cNvSpPr>
            <a:spLocks noGrp="1"/>
          </p:cNvSpPr>
          <p:nvPr>
            <p:ph type="sldNum" sz="quarter" idx="4"/>
          </p:nvPr>
        </p:nvSpPr>
        <p:spPr>
          <a:xfrm>
            <a:off x="10296144" y="6356350"/>
            <a:ext cx="932688" cy="365125"/>
          </a:xfrm>
          <a:prstGeom prst="rect">
            <a:avLst/>
          </a:prstGeom>
        </p:spPr>
        <p:txBody>
          <a:bodyPr vert="horz" lIns="91440" tIns="45720" rIns="91440" bIns="45720" rtlCol="0" anchor="ctr"/>
          <a:lstStyle>
            <a:lvl1pPr algn="r">
              <a:defRPr sz="1200">
                <a:solidFill>
                  <a:schemeClr val="tx1"/>
                </a:solidFill>
              </a:defRPr>
            </a:lvl1pPr>
          </a:lstStyle>
          <a:p>
            <a:fld id="{294A09A9-5501-47C1-A89A-A340965A2BE2}" type="slidenum">
              <a:rPr lang="en-US" smtClean="0"/>
              <a:t>‹#›</a:t>
            </a:fld>
            <a:endParaRPr lang="en-US" dirty="0"/>
          </a:p>
        </p:txBody>
      </p:sp>
    </p:spTree>
    <p:extLst>
      <p:ext uri="{BB962C8B-B14F-4D97-AF65-F5344CB8AC3E}">
        <p14:creationId xmlns:p14="http://schemas.microsoft.com/office/powerpoint/2010/main" val="4229179333"/>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73" r:id="rId4"/>
    <p:sldLayoutId id="2147483672" r:id="rId5"/>
    <p:sldLayoutId id="2147483686" r:id="rId6"/>
    <p:sldLayoutId id="2147483687" r:id="rId7"/>
    <p:sldLayoutId id="2147483675" r:id="rId8"/>
    <p:sldLayoutId id="2147483688" r:id="rId9"/>
    <p:sldLayoutId id="2147483682" r:id="rId10"/>
    <p:sldLayoutId id="2147483689" r:id="rId11"/>
  </p:sldLayoutIdLst>
  <p:hf hdr="0"/>
  <p:txStyles>
    <p:titleStyle>
      <a:lvl1pPr algn="l" defTabSz="914400" rtl="0" eaLnBrk="1" latinLnBrk="0" hangingPunct="1">
        <a:lnSpc>
          <a:spcPct val="90000"/>
        </a:lnSpc>
        <a:spcBef>
          <a:spcPct val="0"/>
        </a:spcBef>
        <a:buNone/>
        <a:defRPr sz="6600" kern="1200" cap="all" spc="120" baseline="0">
          <a:solidFill>
            <a:schemeClr val="bg1"/>
          </a:solidFill>
          <a:latin typeface="+mj-lt"/>
          <a:ea typeface="+mj-ea"/>
          <a:cs typeface="+mj-cs"/>
        </a:defRPr>
      </a:lvl1pPr>
    </p:titleStyle>
    <p:bodyStyle>
      <a:lvl1pPr marL="0" indent="0" algn="l" defTabSz="914400" rtl="0" eaLnBrk="1" latinLnBrk="0" hangingPunct="1">
        <a:lnSpc>
          <a:spcPct val="101000"/>
        </a:lnSpc>
        <a:spcBef>
          <a:spcPts val="700"/>
        </a:spcBef>
        <a:spcAft>
          <a:spcPts val="700"/>
        </a:spcAft>
        <a:buFont typeface="Arial" panose="020B0604020202020204" pitchFamily="34" charset="0"/>
        <a:buNone/>
        <a:defRPr sz="2600" kern="1200" spc="50" baseline="0">
          <a:solidFill>
            <a:schemeClr val="tx1"/>
          </a:solidFill>
          <a:latin typeface="+mn-lt"/>
          <a:ea typeface="+mn-ea"/>
          <a:cs typeface="+mn-cs"/>
        </a:defRPr>
      </a:lvl1pPr>
      <a:lvl2pPr marL="274320" indent="-274320" algn="l" defTabSz="914400" rtl="0" eaLnBrk="1" latinLnBrk="0" hangingPunct="1">
        <a:lnSpc>
          <a:spcPct val="101000"/>
        </a:lnSpc>
        <a:spcBef>
          <a:spcPts val="400"/>
        </a:spcBef>
        <a:spcAft>
          <a:spcPts val="400"/>
        </a:spcAft>
        <a:buClrTx/>
        <a:buFont typeface="Wingdings" panose="05000000000000000000" pitchFamily="2" charset="2"/>
        <a:buChar char="§"/>
        <a:defRPr sz="2300" kern="1200" spc="50" baseline="0">
          <a:solidFill>
            <a:schemeClr val="tx1"/>
          </a:solidFill>
          <a:latin typeface="+mn-lt"/>
          <a:ea typeface="+mn-ea"/>
          <a:cs typeface="+mn-cs"/>
        </a:defRPr>
      </a:lvl2pPr>
      <a:lvl3pPr marL="274320" indent="0" algn="l" defTabSz="914400" rtl="0" eaLnBrk="1" latinLnBrk="0" hangingPunct="1">
        <a:lnSpc>
          <a:spcPct val="101000"/>
        </a:lnSpc>
        <a:spcBef>
          <a:spcPts val="400"/>
        </a:spcBef>
        <a:spcAft>
          <a:spcPts val="400"/>
        </a:spcAft>
        <a:buFont typeface="Arial" panose="020B0604020202020204" pitchFamily="34" charset="0"/>
        <a:buNone/>
        <a:defRPr sz="1800" b="1" kern="1200" spc="50" baseline="0">
          <a:solidFill>
            <a:schemeClr val="tx1"/>
          </a:solidFill>
          <a:latin typeface="+mn-lt"/>
          <a:ea typeface="+mn-ea"/>
          <a:cs typeface="+mn-cs"/>
        </a:defRPr>
      </a:lvl3pPr>
      <a:lvl4pPr marL="594360" indent="-274320" algn="l" defTabSz="914400" rtl="0" eaLnBrk="1" latinLnBrk="0" hangingPunct="1">
        <a:lnSpc>
          <a:spcPct val="101000"/>
        </a:lnSpc>
        <a:spcBef>
          <a:spcPts val="400"/>
        </a:spcBef>
        <a:spcAft>
          <a:spcPts val="400"/>
        </a:spcAft>
        <a:buClrTx/>
        <a:buFont typeface="Wingdings" panose="05000000000000000000" pitchFamily="2" charset="2"/>
        <a:buChar char="§"/>
        <a:defRPr sz="1800" kern="1200" spc="50" baseline="0">
          <a:solidFill>
            <a:schemeClr val="tx1"/>
          </a:solidFill>
          <a:latin typeface="+mn-lt"/>
          <a:ea typeface="+mn-ea"/>
          <a:cs typeface="+mn-cs"/>
        </a:defRPr>
      </a:lvl4pPr>
      <a:lvl5pPr marL="594360" indent="0" algn="l" defTabSz="914400" rtl="0" eaLnBrk="1" latinLnBrk="0" hangingPunct="1">
        <a:lnSpc>
          <a:spcPct val="101000"/>
        </a:lnSpc>
        <a:spcBef>
          <a:spcPts val="400"/>
        </a:spcBef>
        <a:spcAft>
          <a:spcPts val="400"/>
        </a:spcAft>
        <a:buFont typeface="Arial" panose="020B0604020202020204" pitchFamily="34" charset="0"/>
        <a:buNone/>
        <a:defRPr sz="1800" b="1" kern="1200" spc="5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A4A3A4"/>
          </p15:clr>
        </p15:guide>
        <p15:guide id="2" pos="3840" userDrawn="1">
          <p15:clr>
            <a:srgbClr val="A4A3A4"/>
          </p15:clr>
        </p15:guide>
        <p15:guide id="3" pos="240" userDrawn="1">
          <p15:clr>
            <a:srgbClr val="547EBF"/>
          </p15:clr>
        </p15:guide>
        <p15:guide id="4" orient="horz" pos="240" userDrawn="1">
          <p15:clr>
            <a:srgbClr val="547EBF"/>
          </p15:clr>
        </p15:guide>
        <p15:guide id="5" pos="7440" userDrawn="1">
          <p15:clr>
            <a:srgbClr val="547EBF"/>
          </p15:clr>
        </p15:guide>
        <p15:guide id="6" orient="horz" pos="4080" userDrawn="1">
          <p15:clr>
            <a:srgbClr val="547EBF"/>
          </p15:clr>
        </p15:guide>
        <p15:guide id="7" pos="3960" userDrawn="1">
          <p15:clr>
            <a:srgbClr val="547EBF"/>
          </p15:clr>
        </p15:guide>
        <p15:guide id="8" pos="3720" userDrawn="1">
          <p15:clr>
            <a:srgbClr val="547EBF"/>
          </p15:clr>
        </p15:guide>
        <p15:guide id="9" pos="2112" userDrawn="1">
          <p15:clr>
            <a:srgbClr val="547EBF"/>
          </p15:clr>
        </p15:guide>
        <p15:guide id="10" pos="1848" userDrawn="1">
          <p15:clr>
            <a:srgbClr val="547EBF"/>
          </p15:clr>
        </p15:guide>
        <p15:guide id="11" pos="5568" userDrawn="1">
          <p15:clr>
            <a:srgbClr val="547EBF"/>
          </p15:clr>
        </p15:guide>
        <p15:guide id="12" pos="5832" userDrawn="1">
          <p15:clr>
            <a:srgbClr val="547EBF"/>
          </p15:clr>
        </p15:guide>
        <p15:guide id="13" pos="4968" userDrawn="1">
          <p15:clr>
            <a:srgbClr val="9FCC3B"/>
          </p15:clr>
        </p15:guide>
        <p15:guide id="14" pos="5208" userDrawn="1">
          <p15:clr>
            <a:srgbClr val="9FCC3B"/>
          </p15:clr>
        </p15:guide>
        <p15:guide id="15" pos="2712" userDrawn="1">
          <p15:clr>
            <a:srgbClr val="9FCC3B"/>
          </p15:clr>
        </p15:guide>
        <p15:guide id="16" pos="2472" userDrawn="1">
          <p15:clr>
            <a:srgbClr val="9FCC3B"/>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2.jp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1.png"/><Relationship Id="rId2" Type="http://schemas.openxmlformats.org/officeDocument/2006/relationships/slideLayout" Target="../slideLayouts/slideLayout8.xml"/><Relationship Id="rId1" Type="http://schemas.openxmlformats.org/officeDocument/2006/relationships/tags" Target="../tags/tag12.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4.xml"/><Relationship Id="rId1" Type="http://schemas.openxmlformats.org/officeDocument/2006/relationships/tags" Target="../tags/tag13.xml"/><Relationship Id="rId5" Type="http://schemas.openxmlformats.org/officeDocument/2006/relationships/image" Target="../media/image13.jp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6.xml"/><Relationship Id="rId7" Type="http://schemas.openxmlformats.org/officeDocument/2006/relationships/image" Target="../media/image23.png"/><Relationship Id="rId2" Type="http://schemas.openxmlformats.org/officeDocument/2006/relationships/slideLayout" Target="../slideLayouts/slideLayout8.xml"/><Relationship Id="rId1" Type="http://schemas.openxmlformats.org/officeDocument/2006/relationships/tags" Target="../tags/tag14.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3.bin"/><Relationship Id="rId9" Type="http://schemas.openxmlformats.org/officeDocument/2006/relationships/image" Target="../media/image25.png"/></Relationships>
</file>

<file path=ppt/slides/_rels/slide1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7.xml"/><Relationship Id="rId7" Type="http://schemas.openxmlformats.org/officeDocument/2006/relationships/image" Target="../media/image26.png"/><Relationship Id="rId2" Type="http://schemas.openxmlformats.org/officeDocument/2006/relationships/slideLayout" Target="../slideLayouts/slideLayout8.xml"/><Relationship Id="rId1" Type="http://schemas.openxmlformats.org/officeDocument/2006/relationships/tags" Target="../tags/tag15.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8.png"/><Relationship Id="rId2" Type="http://schemas.openxmlformats.org/officeDocument/2006/relationships/slideLayout" Target="../slideLayouts/slideLayout8.xml"/><Relationship Id="rId1" Type="http://schemas.openxmlformats.org/officeDocument/2006/relationships/tags" Target="../tags/tag16.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tags" Target="../tags/tag17.xml"/><Relationship Id="rId5" Type="http://schemas.openxmlformats.org/officeDocument/2006/relationships/image" Target="../media/image29.jp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18.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4.xml"/><Relationship Id="rId1" Type="http://schemas.openxmlformats.org/officeDocument/2006/relationships/tags" Target="../tags/tag19.xml"/><Relationship Id="rId5" Type="http://schemas.openxmlformats.org/officeDocument/2006/relationships/image" Target="../media/image30.jp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notesSlide" Target="../notesSlides/notesSlide10.xml"/><Relationship Id="rId7" Type="http://schemas.openxmlformats.org/officeDocument/2006/relationships/image" Target="../media/image32.png"/><Relationship Id="rId12" Type="http://schemas.openxmlformats.org/officeDocument/2006/relationships/image" Target="../media/image37.svg"/><Relationship Id="rId2" Type="http://schemas.openxmlformats.org/officeDocument/2006/relationships/slideLayout" Target="../slideLayouts/slideLayout3.xml"/><Relationship Id="rId1" Type="http://schemas.openxmlformats.org/officeDocument/2006/relationships/tags" Target="../tags/tag20.xml"/><Relationship Id="rId6" Type="http://schemas.openxmlformats.org/officeDocument/2006/relationships/image" Target="../media/image31.jpg"/><Relationship Id="rId11" Type="http://schemas.openxmlformats.org/officeDocument/2006/relationships/image" Target="../media/image36.png"/><Relationship Id="rId5" Type="http://schemas.openxmlformats.org/officeDocument/2006/relationships/image" Target="../media/image1.emf"/><Relationship Id="rId10" Type="http://schemas.openxmlformats.org/officeDocument/2006/relationships/image" Target="../media/image35.svg"/><Relationship Id="rId4" Type="http://schemas.openxmlformats.org/officeDocument/2006/relationships/oleObject" Target="../embeddings/oleObject19.bin"/><Relationship Id="rId9" Type="http://schemas.openxmlformats.org/officeDocument/2006/relationships/image" Target="../media/image34.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xml"/><Relationship Id="rId1" Type="http://schemas.openxmlformats.org/officeDocument/2006/relationships/tags" Target="../tags/tag21.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3.jp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4.jp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oleObject" Target="../embeddings/oleObject5.bin"/><Relationship Id="rId7" Type="http://schemas.openxmlformats.org/officeDocument/2006/relationships/image" Target="../media/image7.png"/><Relationship Id="rId2" Type="http://schemas.openxmlformats.org/officeDocument/2006/relationships/slideLayout" Target="../slideLayouts/slideLayout8.xml"/><Relationship Id="rId1" Type="http://schemas.openxmlformats.org/officeDocument/2006/relationships/tags" Target="../tags/tag6.xml"/><Relationship Id="rId6" Type="http://schemas.openxmlformats.org/officeDocument/2006/relationships/image" Target="../media/image6.svg"/><Relationship Id="rId5" Type="http://schemas.openxmlformats.org/officeDocument/2006/relationships/image" Target="../media/image5.png"/><Relationship Id="rId10" Type="http://schemas.openxmlformats.org/officeDocument/2006/relationships/image" Target="../media/image10.svg"/><Relationship Id="rId4" Type="http://schemas.openxmlformats.org/officeDocument/2006/relationships/image" Target="../media/image1.emf"/><Relationship Id="rId9"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2.png"/><Relationship Id="rId2" Type="http://schemas.openxmlformats.org/officeDocument/2006/relationships/slideLayout" Target="../slideLayouts/slideLayout8.xml"/><Relationship Id="rId1" Type="http://schemas.openxmlformats.org/officeDocument/2006/relationships/tags" Target="../tags/tag7.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4.jpg"/><Relationship Id="rId5" Type="http://schemas.openxmlformats.org/officeDocument/2006/relationships/image" Target="../media/image13.jp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2.xml"/><Relationship Id="rId7" Type="http://schemas.openxmlformats.org/officeDocument/2006/relationships/hyperlink" Target="https://datosmacro.expansion.com/energia-y-medio-ambiente/emisiones-co2" TargetMode="External"/><Relationship Id="rId2" Type="http://schemas.openxmlformats.org/officeDocument/2006/relationships/slideLayout" Target="../slideLayouts/slideLayout8.xml"/><Relationship Id="rId1" Type="http://schemas.openxmlformats.org/officeDocument/2006/relationships/tags" Target="../tags/tag9.xml"/><Relationship Id="rId6" Type="http://schemas.openxmlformats.org/officeDocument/2006/relationships/hyperlink" Target="https://datosmacro.expansion.com/paises/espana" TargetMode="External"/><Relationship Id="rId5" Type="http://schemas.openxmlformats.org/officeDocument/2006/relationships/image" Target="../media/image1.emf"/><Relationship Id="rId10" Type="http://schemas.openxmlformats.org/officeDocument/2006/relationships/image" Target="../media/image17.png"/><Relationship Id="rId4" Type="http://schemas.openxmlformats.org/officeDocument/2006/relationships/oleObject" Target="../embeddings/oleObject8.bin"/><Relationship Id="rId9" Type="http://schemas.openxmlformats.org/officeDocument/2006/relationships/image" Target="../media/image16.sv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9.svg"/><Relationship Id="rId2" Type="http://schemas.openxmlformats.org/officeDocument/2006/relationships/slideLayout" Target="../slideLayouts/slideLayout8.xml"/><Relationship Id="rId1" Type="http://schemas.openxmlformats.org/officeDocument/2006/relationships/tags" Target="../tags/tag10.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4.xml"/><Relationship Id="rId7" Type="http://schemas.openxmlformats.org/officeDocument/2006/relationships/image" Target="../media/image21.png"/><Relationship Id="rId2" Type="http://schemas.openxmlformats.org/officeDocument/2006/relationships/slideLayout" Target="../slideLayouts/slideLayout8.xml"/><Relationship Id="rId1" Type="http://schemas.openxmlformats.org/officeDocument/2006/relationships/tags" Target="../tags/tag11.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1E33D7-5EE7-4E43-95B4-F82EFB01A789}"/>
              </a:ext>
            </a:extLst>
          </p:cNvPr>
          <p:cNvGraphicFramePr>
            <a:graphicFrameLocks noChangeAspect="1"/>
          </p:cNvGraphicFramePr>
          <p:nvPr>
            <p:custDataLst>
              <p:tags r:id="rId1"/>
            </p:custDataLst>
            <p:extLst>
              <p:ext uri="{D42A27DB-BD31-4B8C-83A1-F6EECF244321}">
                <p14:modId xmlns:p14="http://schemas.microsoft.com/office/powerpoint/2010/main" val="888556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51E33D7-5EE7-4E43-95B4-F82EFB01A7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60295B-54B9-4937-90E3-BAB9CE69E30B}"/>
              </a:ext>
            </a:extLst>
          </p:cNvPr>
          <p:cNvSpPr>
            <a:spLocks noGrp="1"/>
          </p:cNvSpPr>
          <p:nvPr>
            <p:ph type="title"/>
          </p:nvPr>
        </p:nvSpPr>
        <p:spPr>
          <a:xfrm>
            <a:off x="960120" y="768096"/>
            <a:ext cx="7273626" cy="3136392"/>
          </a:xfrm>
        </p:spPr>
        <p:txBody>
          <a:bodyPr vert="horz"/>
          <a:lstStyle/>
          <a:p>
            <a:r>
              <a:rPr lang="es-ES" cap="none"/>
              <a:t>Emisiones de CO2 de una vivienda</a:t>
            </a:r>
          </a:p>
        </p:txBody>
      </p:sp>
      <p:sp>
        <p:nvSpPr>
          <p:cNvPr id="4" name="Text Placeholder 3">
            <a:extLst>
              <a:ext uri="{FF2B5EF4-FFF2-40B4-BE49-F238E27FC236}">
                <a16:creationId xmlns:a16="http://schemas.microsoft.com/office/drawing/2014/main" id="{D51A6D85-3837-435F-A342-5A3F98172B12}"/>
              </a:ext>
            </a:extLst>
          </p:cNvPr>
          <p:cNvSpPr>
            <a:spLocks noGrp="1"/>
          </p:cNvSpPr>
          <p:nvPr>
            <p:ph type="body" idx="1"/>
          </p:nvPr>
        </p:nvSpPr>
        <p:spPr>
          <a:xfrm>
            <a:off x="960120" y="4544568"/>
            <a:ext cx="10268712" cy="1545336"/>
          </a:xfrm>
        </p:spPr>
        <p:txBody>
          <a:bodyPr>
            <a:normAutofit/>
          </a:bodyPr>
          <a:lstStyle/>
          <a:p>
            <a:r>
              <a:rPr lang="en-US" sz="2000" dirty="0">
                <a:solidFill>
                  <a:srgbClr val="4D4D4D"/>
                </a:solidFill>
              </a:rPr>
              <a:t>Enric Mus </a:t>
            </a:r>
            <a:r>
              <a:rPr lang="en-US" sz="2000" dirty="0" err="1">
                <a:solidFill>
                  <a:srgbClr val="4D4D4D"/>
                </a:solidFill>
              </a:rPr>
              <a:t>Catalá</a:t>
            </a:r>
            <a:endParaRPr lang="en-US" sz="2000" dirty="0">
              <a:solidFill>
                <a:srgbClr val="4D4D4D"/>
              </a:solidFill>
            </a:endParaRPr>
          </a:p>
          <a:p>
            <a:r>
              <a:rPr lang="en-US" sz="2000" dirty="0">
                <a:solidFill>
                  <a:srgbClr val="4D4D4D"/>
                </a:solidFill>
              </a:rPr>
              <a:t>22 de </a:t>
            </a:r>
            <a:r>
              <a:rPr lang="en-US" sz="2000" dirty="0" err="1">
                <a:solidFill>
                  <a:srgbClr val="4D4D4D"/>
                </a:solidFill>
              </a:rPr>
              <a:t>diciembre</a:t>
            </a:r>
            <a:r>
              <a:rPr lang="en-US" sz="2000" dirty="0">
                <a:solidFill>
                  <a:srgbClr val="4D4D4D"/>
                </a:solidFill>
              </a:rPr>
              <a:t> 2022</a:t>
            </a:r>
          </a:p>
        </p:txBody>
      </p:sp>
      <p:pic>
        <p:nvPicPr>
          <p:cNvPr id="9" name="Picture 8" descr="A tall building with a sign on it&#10;&#10;Description automatically generated with low confidence">
            <a:extLst>
              <a:ext uri="{FF2B5EF4-FFF2-40B4-BE49-F238E27FC236}">
                <a16:creationId xmlns:a16="http://schemas.microsoft.com/office/drawing/2014/main" id="{7579940C-A9BD-48FD-A7A8-E2B35D78771C}"/>
              </a:ext>
            </a:extLst>
          </p:cNvPr>
          <p:cNvPicPr>
            <a:picLocks noChangeAspect="1"/>
          </p:cNvPicPr>
          <p:nvPr/>
        </p:nvPicPr>
        <p:blipFill>
          <a:blip r:embed="rId5"/>
          <a:stretch>
            <a:fillRect/>
          </a:stretch>
        </p:blipFill>
        <p:spPr>
          <a:xfrm>
            <a:off x="8233746" y="987021"/>
            <a:ext cx="3384000" cy="4883957"/>
          </a:xfrm>
          <a:prstGeom prst="rect">
            <a:avLst/>
          </a:prstGeom>
          <a:solidFill>
            <a:schemeClr val="accent5">
              <a:alpha val="20000"/>
            </a:schemeClr>
          </a:solidFill>
          <a:effectLst/>
        </p:spPr>
      </p:pic>
      <p:sp>
        <p:nvSpPr>
          <p:cNvPr id="10" name="Rectangle 9">
            <a:extLst>
              <a:ext uri="{FF2B5EF4-FFF2-40B4-BE49-F238E27FC236}">
                <a16:creationId xmlns:a16="http://schemas.microsoft.com/office/drawing/2014/main" id="{A5666008-9141-4E1D-8AF3-BCB79C9B9CF0}"/>
              </a:ext>
            </a:extLst>
          </p:cNvPr>
          <p:cNvSpPr/>
          <p:nvPr/>
        </p:nvSpPr>
        <p:spPr>
          <a:xfrm>
            <a:off x="8233746" y="987021"/>
            <a:ext cx="3384000" cy="4883957"/>
          </a:xfrm>
          <a:prstGeom prst="rect">
            <a:avLst/>
          </a:prstGeom>
          <a:solidFill>
            <a:schemeClr val="accent5">
              <a:alpha val="20000"/>
            </a:schemeClr>
          </a:solidFill>
          <a:ln>
            <a:noFill/>
          </a:ln>
          <a:effectLst>
            <a:outerShdw blurRad="50800" dist="38100" dir="5400000" algn="t" rotWithShape="0">
              <a:schemeClr val="accent5">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Tree>
    <p:extLst>
      <p:ext uri="{BB962C8B-B14F-4D97-AF65-F5344CB8AC3E}">
        <p14:creationId xmlns:p14="http://schemas.microsoft.com/office/powerpoint/2010/main" val="883857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58D089-3C8A-4DB5-B385-1D8F29891C43}"/>
              </a:ext>
            </a:extLst>
          </p:cNvPr>
          <p:cNvGraphicFramePr>
            <a:graphicFrameLocks noChangeAspect="1"/>
          </p:cNvGraphicFramePr>
          <p:nvPr>
            <p:custDataLst>
              <p:tags r:id="rId1"/>
            </p:custDataLst>
            <p:extLst>
              <p:ext uri="{D42A27DB-BD31-4B8C-83A1-F6EECF244321}">
                <p14:modId xmlns:p14="http://schemas.microsoft.com/office/powerpoint/2010/main" val="1963662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2" name="Object 11" hidden="1">
                        <a:extLst>
                          <a:ext uri="{FF2B5EF4-FFF2-40B4-BE49-F238E27FC236}">
                            <a16:creationId xmlns:a16="http://schemas.microsoft.com/office/drawing/2014/main" id="{F658D089-3C8A-4DB5-B385-1D8F29891C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D6B1B9-77FC-433D-9851-1201CFDA3270}"/>
              </a:ext>
            </a:extLst>
          </p:cNvPr>
          <p:cNvSpPr>
            <a:spLocks noGrp="1"/>
          </p:cNvSpPr>
          <p:nvPr>
            <p:ph type="title"/>
          </p:nvPr>
        </p:nvSpPr>
        <p:spPr>
          <a:xfrm>
            <a:off x="466344" y="317814"/>
            <a:ext cx="10268712" cy="1700784"/>
          </a:xfrm>
        </p:spPr>
        <p:txBody>
          <a:bodyPr vert="horz">
            <a:normAutofit/>
          </a:bodyPr>
          <a:lstStyle/>
          <a:p>
            <a:r>
              <a:rPr lang="es-ES" sz="5400" cap="none" dirty="0"/>
              <a:t>Procesado dataset (2/2)</a:t>
            </a:r>
          </a:p>
        </p:txBody>
      </p:sp>
      <p:sp>
        <p:nvSpPr>
          <p:cNvPr id="11" name="Slide Number Placeholder 9">
            <a:extLst>
              <a:ext uri="{FF2B5EF4-FFF2-40B4-BE49-F238E27FC236}">
                <a16:creationId xmlns:a16="http://schemas.microsoft.com/office/drawing/2014/main" id="{1AEC9149-F5C3-45FA-B09D-CF6B7D2456CD}"/>
              </a:ext>
            </a:extLst>
          </p:cNvPr>
          <p:cNvSpPr>
            <a:spLocks noGrp="1"/>
          </p:cNvSpPr>
          <p:nvPr>
            <p:ph type="sldNum" sz="quarter" idx="12"/>
          </p:nvPr>
        </p:nvSpPr>
        <p:spPr>
          <a:xfrm>
            <a:off x="0" y="6356350"/>
            <a:ext cx="932688" cy="365125"/>
          </a:xfrm>
        </p:spPr>
        <p:txBody>
          <a:bodyPr/>
          <a:lstStyle/>
          <a:p>
            <a:fld id="{F97E8200-1950-409B-82E7-99938E7AE355}" type="slidenum">
              <a:rPr lang="en-US" smtClean="0"/>
              <a:pPr/>
              <a:t>10</a:t>
            </a:fld>
            <a:endParaRPr lang="en-US" dirty="0"/>
          </a:p>
        </p:txBody>
      </p:sp>
      <p:sp>
        <p:nvSpPr>
          <p:cNvPr id="31" name="TextBox 30">
            <a:extLst>
              <a:ext uri="{FF2B5EF4-FFF2-40B4-BE49-F238E27FC236}">
                <a16:creationId xmlns:a16="http://schemas.microsoft.com/office/drawing/2014/main" id="{C6D1CCEC-534A-4991-A816-2E51476A7F99}"/>
              </a:ext>
            </a:extLst>
          </p:cNvPr>
          <p:cNvSpPr txBox="1"/>
          <p:nvPr/>
        </p:nvSpPr>
        <p:spPr>
          <a:xfrm>
            <a:off x="466344" y="2414016"/>
            <a:ext cx="5629656" cy="307777"/>
          </a:xfrm>
          <a:prstGeom prst="rect">
            <a:avLst/>
          </a:prstGeom>
          <a:noFill/>
        </p:spPr>
        <p:txBody>
          <a:bodyPr wrap="square" rtlCol="0">
            <a:spAutoFit/>
          </a:bodyPr>
          <a:lstStyle/>
          <a:p>
            <a:pPr marL="285750" indent="-285750">
              <a:buSzPct val="70000"/>
              <a:buFont typeface="Arial" panose="020B0604020202020204" pitchFamily="34" charset="0"/>
              <a:buChar char="►"/>
            </a:pPr>
            <a:r>
              <a:rPr lang="es-ES" sz="1400" dirty="0">
                <a:solidFill>
                  <a:srgbClr val="4D4D4D"/>
                </a:solidFill>
              </a:rPr>
              <a:t>Eliminación de </a:t>
            </a:r>
            <a:r>
              <a:rPr lang="es-ES" sz="1400" i="1" dirty="0" err="1">
                <a:solidFill>
                  <a:srgbClr val="4D4D4D"/>
                </a:solidFill>
              </a:rPr>
              <a:t>outliers</a:t>
            </a:r>
            <a:endParaRPr lang="es-ES" sz="1400" i="1" dirty="0">
              <a:solidFill>
                <a:srgbClr val="4D4D4D"/>
              </a:solidFill>
            </a:endParaRPr>
          </a:p>
        </p:txBody>
      </p:sp>
      <p:sp>
        <p:nvSpPr>
          <p:cNvPr id="34" name="TextBox 33">
            <a:extLst>
              <a:ext uri="{FF2B5EF4-FFF2-40B4-BE49-F238E27FC236}">
                <a16:creationId xmlns:a16="http://schemas.microsoft.com/office/drawing/2014/main" id="{25F1FB64-AF7F-42EB-8AA9-58E989376F01}"/>
              </a:ext>
            </a:extLst>
          </p:cNvPr>
          <p:cNvSpPr txBox="1"/>
          <p:nvPr/>
        </p:nvSpPr>
        <p:spPr>
          <a:xfrm>
            <a:off x="466344" y="2726607"/>
            <a:ext cx="5629656" cy="307777"/>
          </a:xfrm>
          <a:prstGeom prst="rect">
            <a:avLst/>
          </a:prstGeom>
          <a:noFill/>
        </p:spPr>
        <p:txBody>
          <a:bodyPr wrap="square" rtlCol="0">
            <a:spAutoFit/>
          </a:bodyPr>
          <a:lstStyle>
            <a:defPPr>
              <a:defRPr lang="en-US"/>
            </a:defPPr>
            <a:lvl1pPr marL="285750" indent="-285750">
              <a:buSzPct val="70000"/>
              <a:buFont typeface="Arial" panose="020B0604020202020204" pitchFamily="34" charset="0"/>
              <a:buChar char="►"/>
              <a:defRPr>
                <a:solidFill>
                  <a:srgbClr val="4D4D4D"/>
                </a:solidFill>
              </a:defRPr>
            </a:lvl1pPr>
          </a:lstStyle>
          <a:p>
            <a:r>
              <a:rPr lang="es-ES" sz="1400" dirty="0"/>
              <a:t>Visualización de matriz de correlaciones entre variables</a:t>
            </a:r>
            <a:endParaRPr lang="es-ES" sz="1400" i="1" dirty="0">
              <a:solidFill>
                <a:srgbClr val="4D4D4D"/>
              </a:solidFill>
            </a:endParaRPr>
          </a:p>
        </p:txBody>
      </p:sp>
      <p:pic>
        <p:nvPicPr>
          <p:cNvPr id="5" name="Picture 4">
            <a:extLst>
              <a:ext uri="{FF2B5EF4-FFF2-40B4-BE49-F238E27FC236}">
                <a16:creationId xmlns:a16="http://schemas.microsoft.com/office/drawing/2014/main" id="{5B9F63FD-EDD3-4A31-835B-4806A8B12B1A}"/>
              </a:ext>
            </a:extLst>
          </p:cNvPr>
          <p:cNvPicPr>
            <a:picLocks noChangeAspect="1"/>
          </p:cNvPicPr>
          <p:nvPr/>
        </p:nvPicPr>
        <p:blipFill>
          <a:blip r:embed="rId6"/>
          <a:stretch>
            <a:fillRect/>
          </a:stretch>
        </p:blipFill>
        <p:spPr>
          <a:xfrm>
            <a:off x="6331957" y="2304288"/>
            <a:ext cx="5393700" cy="4401526"/>
          </a:xfrm>
          <a:prstGeom prst="rect">
            <a:avLst/>
          </a:prstGeom>
        </p:spPr>
      </p:pic>
      <p:pic>
        <p:nvPicPr>
          <p:cNvPr id="19" name="Picture 18" descr="Icon&#10;&#10;Description automatically generated with medium confidence">
            <a:extLst>
              <a:ext uri="{FF2B5EF4-FFF2-40B4-BE49-F238E27FC236}">
                <a16:creationId xmlns:a16="http://schemas.microsoft.com/office/drawing/2014/main" id="{9E85B7F0-8B6D-4ED1-9341-1F9B79C7CA4B}"/>
              </a:ext>
            </a:extLst>
          </p:cNvPr>
          <p:cNvPicPr>
            <a:picLocks noChangeAspect="1"/>
          </p:cNvPicPr>
          <p:nvPr/>
        </p:nvPicPr>
        <p:blipFill>
          <a:blip r:embed="rId7">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10470023" y="610206"/>
            <a:ext cx="1116000" cy="1116000"/>
          </a:xfrm>
          <a:prstGeom prst="rect">
            <a:avLst/>
          </a:prstGeom>
        </p:spPr>
      </p:pic>
      <p:grpSp>
        <p:nvGrpSpPr>
          <p:cNvPr id="18" name="Group 17">
            <a:extLst>
              <a:ext uri="{FF2B5EF4-FFF2-40B4-BE49-F238E27FC236}">
                <a16:creationId xmlns:a16="http://schemas.microsoft.com/office/drawing/2014/main" id="{3825CD2A-D2AA-4C89-A0F3-0AB51BC8A6B3}"/>
              </a:ext>
            </a:extLst>
          </p:cNvPr>
          <p:cNvGrpSpPr/>
          <p:nvPr/>
        </p:nvGrpSpPr>
        <p:grpSpPr>
          <a:xfrm>
            <a:off x="466344" y="3613233"/>
            <a:ext cx="2160000" cy="2160000"/>
            <a:chOff x="466344" y="3613233"/>
            <a:chExt cx="2160000" cy="2160000"/>
          </a:xfrm>
        </p:grpSpPr>
        <p:cxnSp>
          <p:nvCxnSpPr>
            <p:cNvPr id="32" name="Straight Connector 31">
              <a:extLst>
                <a:ext uri="{FF2B5EF4-FFF2-40B4-BE49-F238E27FC236}">
                  <a16:creationId xmlns:a16="http://schemas.microsoft.com/office/drawing/2014/main" id="{A10B52F5-3383-4E73-9324-EE969683AF8C}"/>
                </a:ext>
              </a:extLst>
            </p:cNvPr>
            <p:cNvCxnSpPr>
              <a:cxnSpLocks/>
            </p:cNvCxnSpPr>
            <p:nvPr/>
          </p:nvCxnSpPr>
          <p:spPr>
            <a:xfrm rot="5400000" flipV="1">
              <a:off x="502344" y="3649233"/>
              <a:ext cx="2124000" cy="2124000"/>
            </a:xfrm>
            <a:prstGeom prst="line">
              <a:avLst/>
            </a:prstGeom>
            <a:ln>
              <a:solidFill>
                <a:srgbClr val="4AB5C4"/>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58B1F1F-A2F5-4EBD-9FFD-542864ACA876}"/>
                </a:ext>
              </a:extLst>
            </p:cNvPr>
            <p:cNvCxnSpPr>
              <a:cxnSpLocks/>
            </p:cNvCxnSpPr>
            <p:nvPr/>
          </p:nvCxnSpPr>
          <p:spPr>
            <a:xfrm flipV="1">
              <a:off x="466344" y="3649233"/>
              <a:ext cx="2124000" cy="2124000"/>
            </a:xfrm>
            <a:prstGeom prst="line">
              <a:avLst/>
            </a:prstGeom>
            <a:ln>
              <a:solidFill>
                <a:srgbClr val="4AB5C4"/>
              </a:solidFill>
            </a:ln>
          </p:spPr>
          <p:style>
            <a:lnRef idx="1">
              <a:schemeClr val="accent1"/>
            </a:lnRef>
            <a:fillRef idx="0">
              <a:schemeClr val="accent1"/>
            </a:fillRef>
            <a:effectRef idx="0">
              <a:schemeClr val="accent1"/>
            </a:effectRef>
            <a:fontRef idx="minor">
              <a:schemeClr val="tx1"/>
            </a:fontRef>
          </p:style>
        </p:cxnSp>
        <p:sp>
          <p:nvSpPr>
            <p:cNvPr id="6" name="Rectangle 1">
              <a:extLst>
                <a:ext uri="{FF2B5EF4-FFF2-40B4-BE49-F238E27FC236}">
                  <a16:creationId xmlns:a16="http://schemas.microsoft.com/office/drawing/2014/main" id="{703AE5F8-829F-4EBA-85B0-E3ECE6FFA70D}"/>
                </a:ext>
              </a:extLst>
            </p:cNvPr>
            <p:cNvSpPr>
              <a:spLocks noChangeArrowheads="1"/>
            </p:cNvSpPr>
            <p:nvPr/>
          </p:nvSpPr>
          <p:spPr bwMode="auto">
            <a:xfrm>
              <a:off x="1016552" y="4585511"/>
              <a:ext cx="1060611" cy="215444"/>
            </a:xfrm>
            <a:prstGeom prst="rect">
              <a:avLst/>
            </a:prstGeom>
            <a:solidFill>
              <a:schemeClr val="bg1"/>
            </a:solidFill>
            <a:ln>
              <a:noFill/>
            </a:ln>
            <a:effec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4D4D4D"/>
                  </a:solidFill>
                  <a:effectLst/>
                </a:rPr>
                <a:t>360292</a:t>
              </a:r>
              <a:r>
                <a:rPr lang="en-US" altLang="en-US" sz="1400" b="1" dirty="0">
                  <a:solidFill>
                    <a:srgbClr val="4D4D4D"/>
                  </a:solidFill>
                </a:rPr>
                <a:t> x</a:t>
              </a:r>
              <a:r>
                <a:rPr kumimoji="0" lang="en-US" altLang="en-US" sz="1400" b="1" i="0" u="none" strike="noStrike" cap="none" normalizeH="0" baseline="0" dirty="0">
                  <a:ln>
                    <a:noFill/>
                  </a:ln>
                  <a:solidFill>
                    <a:srgbClr val="4D4D4D"/>
                  </a:solidFill>
                  <a:effectLst/>
                </a:rPr>
                <a:t> 13 </a:t>
              </a:r>
            </a:p>
          </p:txBody>
        </p:sp>
        <p:sp>
          <p:nvSpPr>
            <p:cNvPr id="8" name="Frame 7">
              <a:extLst>
                <a:ext uri="{FF2B5EF4-FFF2-40B4-BE49-F238E27FC236}">
                  <a16:creationId xmlns:a16="http://schemas.microsoft.com/office/drawing/2014/main" id="{61D90C76-4C7E-4D58-B987-CAD0C1E1B8C4}"/>
                </a:ext>
              </a:extLst>
            </p:cNvPr>
            <p:cNvSpPr/>
            <p:nvPr/>
          </p:nvSpPr>
          <p:spPr>
            <a:xfrm>
              <a:off x="466344" y="3613233"/>
              <a:ext cx="2160000" cy="2160000"/>
            </a:xfrm>
            <a:prstGeom prst="frame">
              <a:avLst>
                <a:gd name="adj1" fmla="val 5162"/>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9" name="L-Shape 8">
              <a:extLst>
                <a:ext uri="{FF2B5EF4-FFF2-40B4-BE49-F238E27FC236}">
                  <a16:creationId xmlns:a16="http://schemas.microsoft.com/office/drawing/2014/main" id="{ADF2DA64-5090-4CB2-8A5C-D5C759BA28B7}"/>
                </a:ext>
              </a:extLst>
            </p:cNvPr>
            <p:cNvSpPr/>
            <p:nvPr/>
          </p:nvSpPr>
          <p:spPr>
            <a:xfrm rot="5400000">
              <a:off x="600121" y="3742426"/>
              <a:ext cx="720000" cy="720000"/>
            </a:xfrm>
            <a:prstGeom prst="corner">
              <a:avLst>
                <a:gd name="adj1" fmla="val 21213"/>
                <a:gd name="adj2" fmla="val 22907"/>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6" name="L-Shape 25">
              <a:extLst>
                <a:ext uri="{FF2B5EF4-FFF2-40B4-BE49-F238E27FC236}">
                  <a16:creationId xmlns:a16="http://schemas.microsoft.com/office/drawing/2014/main" id="{B36C12D5-708B-4E6E-AC2C-830876D69765}"/>
                </a:ext>
              </a:extLst>
            </p:cNvPr>
            <p:cNvSpPr/>
            <p:nvPr/>
          </p:nvSpPr>
          <p:spPr>
            <a:xfrm rot="16200000">
              <a:off x="1762583" y="4930768"/>
              <a:ext cx="720000" cy="720000"/>
            </a:xfrm>
            <a:prstGeom prst="corner">
              <a:avLst>
                <a:gd name="adj1" fmla="val 21213"/>
                <a:gd name="adj2" fmla="val 22907"/>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L-Shape 26">
              <a:extLst>
                <a:ext uri="{FF2B5EF4-FFF2-40B4-BE49-F238E27FC236}">
                  <a16:creationId xmlns:a16="http://schemas.microsoft.com/office/drawing/2014/main" id="{92EDE3D0-4928-40B2-81C4-2340526388F2}"/>
                </a:ext>
              </a:extLst>
            </p:cNvPr>
            <p:cNvSpPr/>
            <p:nvPr/>
          </p:nvSpPr>
          <p:spPr>
            <a:xfrm>
              <a:off x="600121" y="4930768"/>
              <a:ext cx="720000" cy="720000"/>
            </a:xfrm>
            <a:prstGeom prst="corner">
              <a:avLst>
                <a:gd name="adj1" fmla="val 21213"/>
                <a:gd name="adj2" fmla="val 22907"/>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9" name="L-Shape 28">
              <a:extLst>
                <a:ext uri="{FF2B5EF4-FFF2-40B4-BE49-F238E27FC236}">
                  <a16:creationId xmlns:a16="http://schemas.microsoft.com/office/drawing/2014/main" id="{CF749792-7757-440C-969D-460EE7D0A98B}"/>
                </a:ext>
              </a:extLst>
            </p:cNvPr>
            <p:cNvSpPr/>
            <p:nvPr/>
          </p:nvSpPr>
          <p:spPr>
            <a:xfrm rot="10800000">
              <a:off x="1762584" y="3742426"/>
              <a:ext cx="720000" cy="720000"/>
            </a:xfrm>
            <a:prstGeom prst="corner">
              <a:avLst>
                <a:gd name="adj1" fmla="val 21213"/>
                <a:gd name="adj2" fmla="val 22907"/>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nvGrpSpPr>
          <p:cNvPr id="22" name="Group 21">
            <a:extLst>
              <a:ext uri="{FF2B5EF4-FFF2-40B4-BE49-F238E27FC236}">
                <a16:creationId xmlns:a16="http://schemas.microsoft.com/office/drawing/2014/main" id="{60E14A56-AC66-4263-900B-E50043D56AFC}"/>
              </a:ext>
            </a:extLst>
          </p:cNvPr>
          <p:cNvGrpSpPr/>
          <p:nvPr/>
        </p:nvGrpSpPr>
        <p:grpSpPr>
          <a:xfrm>
            <a:off x="4098000" y="3775233"/>
            <a:ext cx="1836000" cy="1836000"/>
            <a:chOff x="4098000" y="3775233"/>
            <a:chExt cx="1836000" cy="1836000"/>
          </a:xfrm>
        </p:grpSpPr>
        <p:grpSp>
          <p:nvGrpSpPr>
            <p:cNvPr id="21" name="Group 20">
              <a:extLst>
                <a:ext uri="{FF2B5EF4-FFF2-40B4-BE49-F238E27FC236}">
                  <a16:creationId xmlns:a16="http://schemas.microsoft.com/office/drawing/2014/main" id="{10D4E189-E97C-4BE9-B376-6BE1C04AF122}"/>
                </a:ext>
              </a:extLst>
            </p:cNvPr>
            <p:cNvGrpSpPr>
              <a:grpSpLocks noChangeAspect="1"/>
            </p:cNvGrpSpPr>
            <p:nvPr/>
          </p:nvGrpSpPr>
          <p:grpSpPr>
            <a:xfrm>
              <a:off x="4098000" y="3775233"/>
              <a:ext cx="1836000" cy="1836000"/>
              <a:chOff x="3936000" y="3613233"/>
              <a:chExt cx="2160000" cy="2160000"/>
            </a:xfrm>
          </p:grpSpPr>
          <p:cxnSp>
            <p:nvCxnSpPr>
              <p:cNvPr id="36" name="Straight Connector 35">
                <a:extLst>
                  <a:ext uri="{FF2B5EF4-FFF2-40B4-BE49-F238E27FC236}">
                    <a16:creationId xmlns:a16="http://schemas.microsoft.com/office/drawing/2014/main" id="{BEC1DC43-31B5-42F7-BF00-54F5F1E17358}"/>
                  </a:ext>
                </a:extLst>
              </p:cNvPr>
              <p:cNvCxnSpPr>
                <a:cxnSpLocks/>
              </p:cNvCxnSpPr>
              <p:nvPr/>
            </p:nvCxnSpPr>
            <p:spPr>
              <a:xfrm rot="5400000" flipV="1">
                <a:off x="3972000" y="3649233"/>
                <a:ext cx="2124000" cy="2124000"/>
              </a:xfrm>
              <a:prstGeom prst="line">
                <a:avLst/>
              </a:prstGeom>
              <a:ln>
                <a:solidFill>
                  <a:srgbClr val="4AB5C4"/>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1C87A7C-1635-4B18-A51B-285EDBF7D645}"/>
                  </a:ext>
                </a:extLst>
              </p:cNvPr>
              <p:cNvCxnSpPr>
                <a:cxnSpLocks/>
              </p:cNvCxnSpPr>
              <p:nvPr/>
            </p:nvCxnSpPr>
            <p:spPr>
              <a:xfrm flipV="1">
                <a:off x="3936000" y="3649233"/>
                <a:ext cx="2124000" cy="2124000"/>
              </a:xfrm>
              <a:prstGeom prst="line">
                <a:avLst/>
              </a:prstGeom>
              <a:ln>
                <a:solidFill>
                  <a:srgbClr val="4AB5C4"/>
                </a:solidFill>
              </a:ln>
            </p:spPr>
            <p:style>
              <a:lnRef idx="1">
                <a:schemeClr val="accent1"/>
              </a:lnRef>
              <a:fillRef idx="0">
                <a:schemeClr val="accent1"/>
              </a:fillRef>
              <a:effectRef idx="0">
                <a:schemeClr val="accent1"/>
              </a:effectRef>
              <a:fontRef idx="minor">
                <a:schemeClr val="tx1"/>
              </a:fontRef>
            </p:style>
          </p:cxnSp>
          <p:sp>
            <p:nvSpPr>
              <p:cNvPr id="39" name="Frame 38">
                <a:extLst>
                  <a:ext uri="{FF2B5EF4-FFF2-40B4-BE49-F238E27FC236}">
                    <a16:creationId xmlns:a16="http://schemas.microsoft.com/office/drawing/2014/main" id="{70E62E62-F12C-4B89-87C1-B34BDE815CC3}"/>
                  </a:ext>
                </a:extLst>
              </p:cNvPr>
              <p:cNvSpPr/>
              <p:nvPr/>
            </p:nvSpPr>
            <p:spPr>
              <a:xfrm>
                <a:off x="3936000" y="3613233"/>
                <a:ext cx="2160000" cy="2160000"/>
              </a:xfrm>
              <a:prstGeom prst="frame">
                <a:avLst>
                  <a:gd name="adj1" fmla="val 5162"/>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40" name="L-Shape 39">
                <a:extLst>
                  <a:ext uri="{FF2B5EF4-FFF2-40B4-BE49-F238E27FC236}">
                    <a16:creationId xmlns:a16="http://schemas.microsoft.com/office/drawing/2014/main" id="{C127C3CF-E9E9-446B-AF67-B4B71AC4E1E2}"/>
                  </a:ext>
                </a:extLst>
              </p:cNvPr>
              <p:cNvSpPr/>
              <p:nvPr/>
            </p:nvSpPr>
            <p:spPr>
              <a:xfrm rot="5400000">
                <a:off x="4069777" y="3742426"/>
                <a:ext cx="720000" cy="720000"/>
              </a:xfrm>
              <a:prstGeom prst="corner">
                <a:avLst>
                  <a:gd name="adj1" fmla="val 21213"/>
                  <a:gd name="adj2" fmla="val 22907"/>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2" name="L-Shape 41">
                <a:extLst>
                  <a:ext uri="{FF2B5EF4-FFF2-40B4-BE49-F238E27FC236}">
                    <a16:creationId xmlns:a16="http://schemas.microsoft.com/office/drawing/2014/main" id="{E8766D47-DC57-42E1-A5BA-BE116FC45485}"/>
                  </a:ext>
                </a:extLst>
              </p:cNvPr>
              <p:cNvSpPr/>
              <p:nvPr/>
            </p:nvSpPr>
            <p:spPr>
              <a:xfrm rot="16200000">
                <a:off x="5232239" y="4930768"/>
                <a:ext cx="720000" cy="720000"/>
              </a:xfrm>
              <a:prstGeom prst="corner">
                <a:avLst>
                  <a:gd name="adj1" fmla="val 21213"/>
                  <a:gd name="adj2" fmla="val 22907"/>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3" name="L-Shape 42">
                <a:extLst>
                  <a:ext uri="{FF2B5EF4-FFF2-40B4-BE49-F238E27FC236}">
                    <a16:creationId xmlns:a16="http://schemas.microsoft.com/office/drawing/2014/main" id="{17A58248-C5D0-41F3-884A-4A6140E1822D}"/>
                  </a:ext>
                </a:extLst>
              </p:cNvPr>
              <p:cNvSpPr/>
              <p:nvPr/>
            </p:nvSpPr>
            <p:spPr>
              <a:xfrm>
                <a:off x="4069777" y="4930768"/>
                <a:ext cx="720000" cy="720000"/>
              </a:xfrm>
              <a:prstGeom prst="corner">
                <a:avLst>
                  <a:gd name="adj1" fmla="val 21213"/>
                  <a:gd name="adj2" fmla="val 22907"/>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5" name="L-Shape 44">
                <a:extLst>
                  <a:ext uri="{FF2B5EF4-FFF2-40B4-BE49-F238E27FC236}">
                    <a16:creationId xmlns:a16="http://schemas.microsoft.com/office/drawing/2014/main" id="{39CC7D54-6166-488B-9484-0ED267015EC0}"/>
                  </a:ext>
                </a:extLst>
              </p:cNvPr>
              <p:cNvSpPr/>
              <p:nvPr/>
            </p:nvSpPr>
            <p:spPr>
              <a:xfrm rot="10800000">
                <a:off x="5232240" y="3742426"/>
                <a:ext cx="720000" cy="720000"/>
              </a:xfrm>
              <a:prstGeom prst="corner">
                <a:avLst>
                  <a:gd name="adj1" fmla="val 21213"/>
                  <a:gd name="adj2" fmla="val 22907"/>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38" name="Rectangle 1">
              <a:extLst>
                <a:ext uri="{FF2B5EF4-FFF2-40B4-BE49-F238E27FC236}">
                  <a16:creationId xmlns:a16="http://schemas.microsoft.com/office/drawing/2014/main" id="{9F53DD7D-1D29-46E1-96C9-2E0ABB67F6A8}"/>
                </a:ext>
              </a:extLst>
            </p:cNvPr>
            <p:cNvSpPr>
              <a:spLocks noChangeArrowheads="1"/>
            </p:cNvSpPr>
            <p:nvPr/>
          </p:nvSpPr>
          <p:spPr bwMode="auto">
            <a:xfrm>
              <a:off x="4486208" y="4585511"/>
              <a:ext cx="1056508" cy="215444"/>
            </a:xfrm>
            <a:prstGeom prst="rect">
              <a:avLst/>
            </a:prstGeom>
            <a:solidFill>
              <a:schemeClr val="bg1"/>
            </a:solidFill>
            <a:ln>
              <a:noFill/>
            </a:ln>
            <a:effec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4D4D4D"/>
                  </a:solidFill>
                  <a:effectLst/>
                </a:rPr>
                <a:t>282521</a:t>
              </a:r>
              <a:r>
                <a:rPr lang="en-US" altLang="en-US" sz="1400" b="1" dirty="0">
                  <a:solidFill>
                    <a:srgbClr val="4D4D4D"/>
                  </a:solidFill>
                </a:rPr>
                <a:t> x</a:t>
              </a:r>
              <a:r>
                <a:rPr kumimoji="0" lang="en-US" altLang="en-US" sz="1400" b="1" i="0" u="none" strike="noStrike" cap="none" normalizeH="0" baseline="0" dirty="0">
                  <a:ln>
                    <a:noFill/>
                  </a:ln>
                  <a:solidFill>
                    <a:srgbClr val="4D4D4D"/>
                  </a:solidFill>
                  <a:effectLst/>
                </a:rPr>
                <a:t> </a:t>
              </a:r>
              <a:r>
                <a:rPr lang="en-US" altLang="en-US" sz="1400" b="1" dirty="0">
                  <a:solidFill>
                    <a:srgbClr val="4D4D4D"/>
                  </a:solidFill>
                </a:rPr>
                <a:t>13</a:t>
              </a:r>
              <a:r>
                <a:rPr kumimoji="0" lang="en-US" altLang="en-US" sz="1400" b="1" i="0" u="none" strike="noStrike" cap="none" normalizeH="0" baseline="0" dirty="0">
                  <a:ln>
                    <a:noFill/>
                  </a:ln>
                  <a:solidFill>
                    <a:srgbClr val="4D4D4D"/>
                  </a:solidFill>
                  <a:effectLst/>
                </a:rPr>
                <a:t> </a:t>
              </a:r>
            </a:p>
          </p:txBody>
        </p:sp>
      </p:grpSp>
      <p:sp>
        <p:nvSpPr>
          <p:cNvPr id="33" name="Arrow: Right 32">
            <a:extLst>
              <a:ext uri="{FF2B5EF4-FFF2-40B4-BE49-F238E27FC236}">
                <a16:creationId xmlns:a16="http://schemas.microsoft.com/office/drawing/2014/main" id="{B9810218-5A6A-4CAF-887D-F8E7CBFE2674}"/>
              </a:ext>
            </a:extLst>
          </p:cNvPr>
          <p:cNvSpPr/>
          <p:nvPr/>
        </p:nvSpPr>
        <p:spPr>
          <a:xfrm>
            <a:off x="2862300" y="4585511"/>
            <a:ext cx="999744" cy="215444"/>
          </a:xfrm>
          <a:prstGeom prst="rightArrow">
            <a:avLst>
              <a:gd name="adj1" fmla="val 21705"/>
              <a:gd name="adj2" fmla="val 10305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19536479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1E33D7-5EE7-4E43-95B4-F82EFB01A789}"/>
              </a:ext>
            </a:extLst>
          </p:cNvPr>
          <p:cNvGraphicFramePr>
            <a:graphicFrameLocks noChangeAspect="1"/>
          </p:cNvGraphicFramePr>
          <p:nvPr>
            <p:custDataLst>
              <p:tags r:id="rId1"/>
            </p:custDataLst>
            <p:extLst>
              <p:ext uri="{D42A27DB-BD31-4B8C-83A1-F6EECF244321}">
                <p14:modId xmlns:p14="http://schemas.microsoft.com/office/powerpoint/2010/main" val="715629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51E33D7-5EE7-4E43-95B4-F82EFB01A7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51A6D85-3837-435F-A342-5A3F98172B12}"/>
              </a:ext>
            </a:extLst>
          </p:cNvPr>
          <p:cNvSpPr>
            <a:spLocks noGrp="1"/>
          </p:cNvSpPr>
          <p:nvPr>
            <p:ph type="body" idx="1"/>
          </p:nvPr>
        </p:nvSpPr>
        <p:spPr>
          <a:xfrm>
            <a:off x="960120" y="4544568"/>
            <a:ext cx="10268712" cy="1545336"/>
          </a:xfrm>
        </p:spPr>
        <p:txBody>
          <a:bodyPr/>
          <a:lstStyle/>
          <a:p>
            <a:pPr algn="r"/>
            <a:r>
              <a:rPr lang="es-ES" dirty="0">
                <a:solidFill>
                  <a:srgbClr val="4D4D4D"/>
                </a:solidFill>
              </a:rPr>
              <a:t>Análisis Visual; PowerBI</a:t>
            </a:r>
          </a:p>
        </p:txBody>
      </p:sp>
      <p:sp>
        <p:nvSpPr>
          <p:cNvPr id="6" name="Title 5">
            <a:extLst>
              <a:ext uri="{FF2B5EF4-FFF2-40B4-BE49-F238E27FC236}">
                <a16:creationId xmlns:a16="http://schemas.microsoft.com/office/drawing/2014/main" id="{CCC7D267-DCEC-4B85-81EC-31ABD1F5384C}"/>
              </a:ext>
            </a:extLst>
          </p:cNvPr>
          <p:cNvSpPr>
            <a:spLocks noGrp="1"/>
          </p:cNvSpPr>
          <p:nvPr>
            <p:ph type="title"/>
          </p:nvPr>
        </p:nvSpPr>
        <p:spPr/>
        <p:txBody>
          <a:bodyPr/>
          <a:lstStyle/>
          <a:p>
            <a:endParaRPr lang="es-ES" dirty="0"/>
          </a:p>
        </p:txBody>
      </p:sp>
      <p:pic>
        <p:nvPicPr>
          <p:cNvPr id="3" name="Picture 2" descr="A piece of paper with writing on it next to a computer&#10;&#10;Description automatically generated with medium confidence">
            <a:extLst>
              <a:ext uri="{FF2B5EF4-FFF2-40B4-BE49-F238E27FC236}">
                <a16:creationId xmlns:a16="http://schemas.microsoft.com/office/drawing/2014/main" id="{3150ADF4-BF12-42C9-A378-F03025EF4B94}"/>
              </a:ext>
            </a:extLst>
          </p:cNvPr>
          <p:cNvPicPr>
            <a:picLocks noChangeAspect="1"/>
          </p:cNvPicPr>
          <p:nvPr/>
        </p:nvPicPr>
        <p:blipFill rotWithShape="1">
          <a:blip r:embed="rId5"/>
          <a:srcRect t="23938" b="23938"/>
          <a:stretch/>
        </p:blipFill>
        <p:spPr>
          <a:xfrm>
            <a:off x="0" y="0"/>
            <a:ext cx="12192001" cy="4267200"/>
          </a:xfrm>
          <a:prstGeom prst="rect">
            <a:avLst/>
          </a:prstGeom>
        </p:spPr>
      </p:pic>
    </p:spTree>
    <p:extLst>
      <p:ext uri="{BB962C8B-B14F-4D97-AF65-F5344CB8AC3E}">
        <p14:creationId xmlns:p14="http://schemas.microsoft.com/office/powerpoint/2010/main" val="15395552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58D089-3C8A-4DB5-B385-1D8F29891C43}"/>
              </a:ext>
            </a:extLst>
          </p:cNvPr>
          <p:cNvGraphicFramePr>
            <a:graphicFrameLocks noChangeAspect="1"/>
          </p:cNvGraphicFramePr>
          <p:nvPr>
            <p:custDataLst>
              <p:tags r:id="rId1"/>
            </p:custDataLst>
            <p:extLst>
              <p:ext uri="{D42A27DB-BD31-4B8C-83A1-F6EECF244321}">
                <p14:modId xmlns:p14="http://schemas.microsoft.com/office/powerpoint/2010/main" val="3796299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2" name="Object 11" hidden="1">
                        <a:extLst>
                          <a:ext uri="{FF2B5EF4-FFF2-40B4-BE49-F238E27FC236}">
                            <a16:creationId xmlns:a16="http://schemas.microsoft.com/office/drawing/2014/main" id="{F658D089-3C8A-4DB5-B385-1D8F29891C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D6B1B9-77FC-433D-9851-1201CFDA3270}"/>
              </a:ext>
            </a:extLst>
          </p:cNvPr>
          <p:cNvSpPr>
            <a:spLocks noGrp="1"/>
          </p:cNvSpPr>
          <p:nvPr>
            <p:ph type="title"/>
          </p:nvPr>
        </p:nvSpPr>
        <p:spPr>
          <a:xfrm>
            <a:off x="466344" y="317814"/>
            <a:ext cx="10268712" cy="1700784"/>
          </a:xfrm>
        </p:spPr>
        <p:txBody>
          <a:bodyPr vert="horz">
            <a:normAutofit/>
          </a:bodyPr>
          <a:lstStyle/>
          <a:p>
            <a:r>
              <a:rPr lang="es-ES" sz="6000" cap="none" dirty="0"/>
              <a:t>Análisis visual; Emisiones CO2</a:t>
            </a:r>
          </a:p>
        </p:txBody>
      </p:sp>
      <p:sp>
        <p:nvSpPr>
          <p:cNvPr id="11" name="Slide Number Placeholder 9">
            <a:extLst>
              <a:ext uri="{FF2B5EF4-FFF2-40B4-BE49-F238E27FC236}">
                <a16:creationId xmlns:a16="http://schemas.microsoft.com/office/drawing/2014/main" id="{1AEC9149-F5C3-45FA-B09D-CF6B7D2456CD}"/>
              </a:ext>
            </a:extLst>
          </p:cNvPr>
          <p:cNvSpPr>
            <a:spLocks noGrp="1"/>
          </p:cNvSpPr>
          <p:nvPr>
            <p:ph type="sldNum" sz="quarter" idx="12"/>
          </p:nvPr>
        </p:nvSpPr>
        <p:spPr>
          <a:xfrm>
            <a:off x="0" y="6356350"/>
            <a:ext cx="932688" cy="365125"/>
          </a:xfrm>
        </p:spPr>
        <p:txBody>
          <a:bodyPr/>
          <a:lstStyle/>
          <a:p>
            <a:fld id="{F97E8200-1950-409B-82E7-99938E7AE355}" type="slidenum">
              <a:rPr lang="en-US" smtClean="0"/>
              <a:pPr/>
              <a:t>12</a:t>
            </a:fld>
            <a:endParaRPr lang="en-US" dirty="0"/>
          </a:p>
        </p:txBody>
      </p:sp>
      <p:pic>
        <p:nvPicPr>
          <p:cNvPr id="30" name="Picture 29" descr="Logo&#10;&#10;Description automatically generated">
            <a:extLst>
              <a:ext uri="{FF2B5EF4-FFF2-40B4-BE49-F238E27FC236}">
                <a16:creationId xmlns:a16="http://schemas.microsoft.com/office/drawing/2014/main" id="{26F64177-3B3E-40F7-B577-7980815FABD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93071" y="610206"/>
            <a:ext cx="1069903" cy="1116000"/>
          </a:xfrm>
          <a:prstGeom prst="rect">
            <a:avLst/>
          </a:prstGeom>
        </p:spPr>
      </p:pic>
      <p:pic>
        <p:nvPicPr>
          <p:cNvPr id="14" name="Picture 13">
            <a:extLst>
              <a:ext uri="{FF2B5EF4-FFF2-40B4-BE49-F238E27FC236}">
                <a16:creationId xmlns:a16="http://schemas.microsoft.com/office/drawing/2014/main" id="{F7DA412D-5C02-48DF-AD29-04E3AE473F9F}"/>
              </a:ext>
            </a:extLst>
          </p:cNvPr>
          <p:cNvPicPr>
            <a:picLocks noChangeAspect="1"/>
          </p:cNvPicPr>
          <p:nvPr/>
        </p:nvPicPr>
        <p:blipFill rotWithShape="1">
          <a:blip r:embed="rId7"/>
          <a:srcRect b="3977"/>
          <a:stretch/>
        </p:blipFill>
        <p:spPr>
          <a:xfrm>
            <a:off x="523493" y="2395537"/>
            <a:ext cx="3971925" cy="804863"/>
          </a:xfrm>
          <a:prstGeom prst="rect">
            <a:avLst/>
          </a:prstGeom>
        </p:spPr>
      </p:pic>
      <p:pic>
        <p:nvPicPr>
          <p:cNvPr id="16" name="Picture 15">
            <a:extLst>
              <a:ext uri="{FF2B5EF4-FFF2-40B4-BE49-F238E27FC236}">
                <a16:creationId xmlns:a16="http://schemas.microsoft.com/office/drawing/2014/main" id="{E9DF2729-89D7-4B61-9A92-001D55686893}"/>
              </a:ext>
            </a:extLst>
          </p:cNvPr>
          <p:cNvPicPr>
            <a:picLocks noChangeAspect="1"/>
          </p:cNvPicPr>
          <p:nvPr/>
        </p:nvPicPr>
        <p:blipFill>
          <a:blip r:embed="rId8"/>
          <a:stretch>
            <a:fillRect/>
          </a:stretch>
        </p:blipFill>
        <p:spPr>
          <a:xfrm>
            <a:off x="466344" y="3371850"/>
            <a:ext cx="9172575" cy="3143250"/>
          </a:xfrm>
          <a:prstGeom prst="rect">
            <a:avLst/>
          </a:prstGeom>
        </p:spPr>
      </p:pic>
      <p:pic>
        <p:nvPicPr>
          <p:cNvPr id="10" name="Picture 9">
            <a:extLst>
              <a:ext uri="{FF2B5EF4-FFF2-40B4-BE49-F238E27FC236}">
                <a16:creationId xmlns:a16="http://schemas.microsoft.com/office/drawing/2014/main" id="{51C014A2-8D73-4651-BB0B-ED073665BC78}"/>
              </a:ext>
            </a:extLst>
          </p:cNvPr>
          <p:cNvPicPr>
            <a:picLocks noChangeAspect="1"/>
          </p:cNvPicPr>
          <p:nvPr/>
        </p:nvPicPr>
        <p:blipFill>
          <a:blip r:embed="rId9"/>
          <a:stretch>
            <a:fillRect/>
          </a:stretch>
        </p:blipFill>
        <p:spPr>
          <a:xfrm>
            <a:off x="5130418" y="2395537"/>
            <a:ext cx="4010025" cy="828675"/>
          </a:xfrm>
          <a:prstGeom prst="rect">
            <a:avLst/>
          </a:prstGeom>
        </p:spPr>
      </p:pic>
      <p:sp>
        <p:nvSpPr>
          <p:cNvPr id="18" name="TextBox 17">
            <a:extLst>
              <a:ext uri="{FF2B5EF4-FFF2-40B4-BE49-F238E27FC236}">
                <a16:creationId xmlns:a16="http://schemas.microsoft.com/office/drawing/2014/main" id="{22C1181E-DA28-40EC-98FB-A382D1CBDD22}"/>
              </a:ext>
            </a:extLst>
          </p:cNvPr>
          <p:cNvSpPr txBox="1"/>
          <p:nvPr/>
        </p:nvSpPr>
        <p:spPr>
          <a:xfrm>
            <a:off x="9775443" y="2395537"/>
            <a:ext cx="1787532" cy="3513269"/>
          </a:xfrm>
          <a:prstGeom prst="rect">
            <a:avLst/>
          </a:prstGeom>
          <a:noFill/>
        </p:spPr>
        <p:txBody>
          <a:bodyPr wrap="square">
            <a:spAutoFit/>
          </a:bodyPr>
          <a:lstStyle/>
          <a:p>
            <a:pPr>
              <a:lnSpc>
                <a:spcPct val="115000"/>
              </a:lnSpc>
            </a:pPr>
            <a:r>
              <a:rPr lang="es-ES" sz="1800" b="1" dirty="0">
                <a:effectLst/>
                <a:ea typeface="Arial" panose="020B0604020202020204" pitchFamily="34" charset="0"/>
              </a:rPr>
              <a:t>Barcelona</a:t>
            </a:r>
          </a:p>
          <a:p>
            <a:pPr>
              <a:lnSpc>
                <a:spcPct val="115000"/>
              </a:lnSpc>
            </a:pPr>
            <a:r>
              <a:rPr lang="es-ES" sz="1800" dirty="0">
                <a:solidFill>
                  <a:srgbClr val="4D4D4D"/>
                </a:solidFill>
                <a:effectLst/>
                <a:ea typeface="Arial" panose="020B0604020202020204" pitchFamily="34" charset="0"/>
              </a:rPr>
              <a:t>[C2,D2,D1,E1]</a:t>
            </a:r>
          </a:p>
          <a:p>
            <a:pPr>
              <a:lnSpc>
                <a:spcPct val="115000"/>
              </a:lnSpc>
            </a:pPr>
            <a:r>
              <a:rPr lang="es-ES" sz="1800" dirty="0">
                <a:effectLst/>
                <a:ea typeface="Arial" panose="020B0604020202020204" pitchFamily="34" charset="0"/>
              </a:rPr>
              <a:t> </a:t>
            </a:r>
            <a:endParaRPr lang="en-US" sz="1800" dirty="0">
              <a:effectLst/>
              <a:ea typeface="Arial" panose="020B0604020202020204" pitchFamily="34" charset="0"/>
            </a:endParaRPr>
          </a:p>
          <a:p>
            <a:pPr>
              <a:lnSpc>
                <a:spcPct val="115000"/>
              </a:lnSpc>
            </a:pPr>
            <a:r>
              <a:rPr lang="es-ES" sz="1800" b="1" dirty="0">
                <a:effectLst/>
                <a:ea typeface="Arial" panose="020B0604020202020204" pitchFamily="34" charset="0"/>
              </a:rPr>
              <a:t>Girona</a:t>
            </a:r>
          </a:p>
          <a:p>
            <a:pPr>
              <a:lnSpc>
                <a:spcPct val="115000"/>
              </a:lnSpc>
            </a:pPr>
            <a:r>
              <a:rPr lang="es-ES" sz="1800" dirty="0">
                <a:solidFill>
                  <a:srgbClr val="4D4D4D"/>
                </a:solidFill>
                <a:effectLst/>
                <a:ea typeface="Arial" panose="020B0604020202020204" pitchFamily="34" charset="0"/>
              </a:rPr>
              <a:t>[C2,D2,E1]</a:t>
            </a:r>
          </a:p>
          <a:p>
            <a:pPr>
              <a:lnSpc>
                <a:spcPct val="115000"/>
              </a:lnSpc>
            </a:pPr>
            <a:endParaRPr lang="en-US" sz="1800" dirty="0">
              <a:effectLst/>
              <a:ea typeface="Arial" panose="020B0604020202020204" pitchFamily="34" charset="0"/>
            </a:endParaRPr>
          </a:p>
          <a:p>
            <a:pPr>
              <a:lnSpc>
                <a:spcPct val="115000"/>
              </a:lnSpc>
            </a:pPr>
            <a:r>
              <a:rPr lang="es-ES" sz="1800" b="1" dirty="0">
                <a:effectLst/>
                <a:ea typeface="Arial" panose="020B0604020202020204" pitchFamily="34" charset="0"/>
              </a:rPr>
              <a:t>Lleida</a:t>
            </a:r>
          </a:p>
          <a:p>
            <a:pPr>
              <a:lnSpc>
                <a:spcPct val="115000"/>
              </a:lnSpc>
            </a:pPr>
            <a:r>
              <a:rPr lang="es-ES" sz="1800" dirty="0">
                <a:solidFill>
                  <a:srgbClr val="4D4D4D"/>
                </a:solidFill>
                <a:effectLst/>
                <a:ea typeface="Arial" panose="020B0604020202020204" pitchFamily="34" charset="0"/>
              </a:rPr>
              <a:t>[C3,D3,E1]</a:t>
            </a:r>
          </a:p>
          <a:p>
            <a:pPr>
              <a:lnSpc>
                <a:spcPct val="115000"/>
              </a:lnSpc>
            </a:pPr>
            <a:endParaRPr lang="en-US" sz="1800" dirty="0">
              <a:effectLst/>
              <a:ea typeface="Arial" panose="020B0604020202020204" pitchFamily="34" charset="0"/>
            </a:endParaRPr>
          </a:p>
          <a:p>
            <a:r>
              <a:rPr lang="es-ES" sz="1800" b="1" dirty="0">
                <a:effectLst/>
                <a:ea typeface="Arial" panose="020B0604020202020204" pitchFamily="34" charset="0"/>
              </a:rPr>
              <a:t>Tarragona</a:t>
            </a:r>
          </a:p>
          <a:p>
            <a:r>
              <a:rPr lang="es-ES" sz="1800" dirty="0">
                <a:solidFill>
                  <a:srgbClr val="4D4D4D"/>
                </a:solidFill>
                <a:effectLst/>
                <a:ea typeface="Arial" panose="020B0604020202020204" pitchFamily="34" charset="0"/>
              </a:rPr>
              <a:t>[B3,C3,D3]</a:t>
            </a:r>
          </a:p>
        </p:txBody>
      </p:sp>
    </p:spTree>
    <p:extLst>
      <p:ext uri="{BB962C8B-B14F-4D97-AF65-F5344CB8AC3E}">
        <p14:creationId xmlns:p14="http://schemas.microsoft.com/office/powerpoint/2010/main" val="14546371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58D089-3C8A-4DB5-B385-1D8F29891C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2" name="Object 11" hidden="1">
                        <a:extLst>
                          <a:ext uri="{FF2B5EF4-FFF2-40B4-BE49-F238E27FC236}">
                            <a16:creationId xmlns:a16="http://schemas.microsoft.com/office/drawing/2014/main" id="{F658D089-3C8A-4DB5-B385-1D8F29891C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D6B1B9-77FC-433D-9851-1201CFDA3270}"/>
              </a:ext>
            </a:extLst>
          </p:cNvPr>
          <p:cNvSpPr>
            <a:spLocks noGrp="1"/>
          </p:cNvSpPr>
          <p:nvPr>
            <p:ph type="title"/>
          </p:nvPr>
        </p:nvSpPr>
        <p:spPr>
          <a:xfrm>
            <a:off x="466344" y="317814"/>
            <a:ext cx="10268712" cy="1700784"/>
          </a:xfrm>
        </p:spPr>
        <p:txBody>
          <a:bodyPr vert="horz">
            <a:normAutofit/>
          </a:bodyPr>
          <a:lstStyle/>
          <a:p>
            <a:r>
              <a:rPr lang="es-ES" sz="6000" cap="none" dirty="0"/>
              <a:t>Análisis Visual. Emisiones CO2</a:t>
            </a:r>
          </a:p>
        </p:txBody>
      </p:sp>
      <p:sp>
        <p:nvSpPr>
          <p:cNvPr id="11" name="Slide Number Placeholder 9">
            <a:extLst>
              <a:ext uri="{FF2B5EF4-FFF2-40B4-BE49-F238E27FC236}">
                <a16:creationId xmlns:a16="http://schemas.microsoft.com/office/drawing/2014/main" id="{1AEC9149-F5C3-45FA-B09D-CF6B7D2456CD}"/>
              </a:ext>
            </a:extLst>
          </p:cNvPr>
          <p:cNvSpPr>
            <a:spLocks noGrp="1"/>
          </p:cNvSpPr>
          <p:nvPr>
            <p:ph type="sldNum" sz="quarter" idx="12"/>
          </p:nvPr>
        </p:nvSpPr>
        <p:spPr>
          <a:xfrm>
            <a:off x="0" y="6356350"/>
            <a:ext cx="932688" cy="365125"/>
          </a:xfrm>
        </p:spPr>
        <p:txBody>
          <a:bodyPr/>
          <a:lstStyle/>
          <a:p>
            <a:fld id="{F97E8200-1950-409B-82E7-99938E7AE355}" type="slidenum">
              <a:rPr lang="en-US" smtClean="0"/>
              <a:pPr/>
              <a:t>13</a:t>
            </a:fld>
            <a:endParaRPr lang="en-US" dirty="0"/>
          </a:p>
        </p:txBody>
      </p:sp>
      <p:pic>
        <p:nvPicPr>
          <p:cNvPr id="30" name="Picture 29" descr="Logo&#10;&#10;Description automatically generated">
            <a:extLst>
              <a:ext uri="{FF2B5EF4-FFF2-40B4-BE49-F238E27FC236}">
                <a16:creationId xmlns:a16="http://schemas.microsoft.com/office/drawing/2014/main" id="{26F64177-3B3E-40F7-B577-7980815FABD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93071" y="610206"/>
            <a:ext cx="1069903" cy="1116000"/>
          </a:xfrm>
          <a:prstGeom prst="rect">
            <a:avLst/>
          </a:prstGeom>
        </p:spPr>
      </p:pic>
      <p:pic>
        <p:nvPicPr>
          <p:cNvPr id="4" name="Picture 3">
            <a:extLst>
              <a:ext uri="{FF2B5EF4-FFF2-40B4-BE49-F238E27FC236}">
                <a16:creationId xmlns:a16="http://schemas.microsoft.com/office/drawing/2014/main" id="{1005D3C0-74A7-4A23-B3DD-01C717654AF1}"/>
              </a:ext>
            </a:extLst>
          </p:cNvPr>
          <p:cNvPicPr>
            <a:picLocks noChangeAspect="1"/>
          </p:cNvPicPr>
          <p:nvPr/>
        </p:nvPicPr>
        <p:blipFill>
          <a:blip r:embed="rId7"/>
          <a:stretch>
            <a:fillRect/>
          </a:stretch>
        </p:blipFill>
        <p:spPr>
          <a:xfrm>
            <a:off x="466344" y="2600639"/>
            <a:ext cx="5161354" cy="3173670"/>
          </a:xfrm>
          <a:prstGeom prst="rect">
            <a:avLst/>
          </a:prstGeom>
        </p:spPr>
      </p:pic>
      <p:pic>
        <p:nvPicPr>
          <p:cNvPr id="5" name="Picture 4">
            <a:extLst>
              <a:ext uri="{FF2B5EF4-FFF2-40B4-BE49-F238E27FC236}">
                <a16:creationId xmlns:a16="http://schemas.microsoft.com/office/drawing/2014/main" id="{2EEE7978-0C68-4660-916E-2CD465E395A1}"/>
              </a:ext>
            </a:extLst>
          </p:cNvPr>
          <p:cNvPicPr>
            <a:picLocks noChangeAspect="1"/>
          </p:cNvPicPr>
          <p:nvPr/>
        </p:nvPicPr>
        <p:blipFill>
          <a:blip r:embed="rId8"/>
          <a:stretch>
            <a:fillRect/>
          </a:stretch>
        </p:blipFill>
        <p:spPr>
          <a:xfrm>
            <a:off x="6417003" y="2600639"/>
            <a:ext cx="4902452" cy="3168813"/>
          </a:xfrm>
          <a:prstGeom prst="rect">
            <a:avLst/>
          </a:prstGeom>
        </p:spPr>
      </p:pic>
    </p:spTree>
    <p:extLst>
      <p:ext uri="{BB962C8B-B14F-4D97-AF65-F5344CB8AC3E}">
        <p14:creationId xmlns:p14="http://schemas.microsoft.com/office/powerpoint/2010/main" val="3665643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58D089-3C8A-4DB5-B385-1D8F29891C43}"/>
              </a:ext>
            </a:extLst>
          </p:cNvPr>
          <p:cNvGraphicFramePr>
            <a:graphicFrameLocks noChangeAspect="1"/>
          </p:cNvGraphicFramePr>
          <p:nvPr>
            <p:custDataLst>
              <p:tags r:id="rId1"/>
            </p:custDataLst>
            <p:extLst>
              <p:ext uri="{D42A27DB-BD31-4B8C-83A1-F6EECF244321}">
                <p14:modId xmlns:p14="http://schemas.microsoft.com/office/powerpoint/2010/main" val="209675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2" name="Object 11" hidden="1">
                        <a:extLst>
                          <a:ext uri="{FF2B5EF4-FFF2-40B4-BE49-F238E27FC236}">
                            <a16:creationId xmlns:a16="http://schemas.microsoft.com/office/drawing/2014/main" id="{F658D089-3C8A-4DB5-B385-1D8F29891C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D6B1B9-77FC-433D-9851-1201CFDA3270}"/>
              </a:ext>
            </a:extLst>
          </p:cNvPr>
          <p:cNvSpPr>
            <a:spLocks noGrp="1"/>
          </p:cNvSpPr>
          <p:nvPr>
            <p:ph type="title"/>
          </p:nvPr>
        </p:nvSpPr>
        <p:spPr>
          <a:xfrm>
            <a:off x="466344" y="317814"/>
            <a:ext cx="10268712" cy="1700784"/>
          </a:xfrm>
        </p:spPr>
        <p:txBody>
          <a:bodyPr vert="horz">
            <a:normAutofit fontScale="90000"/>
          </a:bodyPr>
          <a:lstStyle/>
          <a:p>
            <a:r>
              <a:rPr lang="es-ES" sz="6000" cap="none" dirty="0"/>
              <a:t>Análisis visual; Energía primaria </a:t>
            </a:r>
            <a:br>
              <a:rPr lang="es-ES" sz="6000" cap="none" dirty="0"/>
            </a:br>
            <a:r>
              <a:rPr lang="es-ES" sz="6000" cap="none" dirty="0"/>
              <a:t>no renovable</a:t>
            </a:r>
          </a:p>
        </p:txBody>
      </p:sp>
      <p:sp>
        <p:nvSpPr>
          <p:cNvPr id="11" name="Slide Number Placeholder 9">
            <a:extLst>
              <a:ext uri="{FF2B5EF4-FFF2-40B4-BE49-F238E27FC236}">
                <a16:creationId xmlns:a16="http://schemas.microsoft.com/office/drawing/2014/main" id="{1AEC9149-F5C3-45FA-B09D-CF6B7D2456CD}"/>
              </a:ext>
            </a:extLst>
          </p:cNvPr>
          <p:cNvSpPr>
            <a:spLocks noGrp="1"/>
          </p:cNvSpPr>
          <p:nvPr>
            <p:ph type="sldNum" sz="quarter" idx="12"/>
          </p:nvPr>
        </p:nvSpPr>
        <p:spPr>
          <a:xfrm>
            <a:off x="0" y="6356350"/>
            <a:ext cx="932688" cy="365125"/>
          </a:xfrm>
        </p:spPr>
        <p:txBody>
          <a:bodyPr/>
          <a:lstStyle/>
          <a:p>
            <a:fld id="{F97E8200-1950-409B-82E7-99938E7AE355}" type="slidenum">
              <a:rPr lang="en-US" smtClean="0"/>
              <a:pPr/>
              <a:t>14</a:t>
            </a:fld>
            <a:endParaRPr lang="en-US" dirty="0"/>
          </a:p>
        </p:txBody>
      </p:sp>
      <p:pic>
        <p:nvPicPr>
          <p:cNvPr id="30" name="Picture 29" descr="Logo&#10;&#10;Description automatically generated">
            <a:extLst>
              <a:ext uri="{FF2B5EF4-FFF2-40B4-BE49-F238E27FC236}">
                <a16:creationId xmlns:a16="http://schemas.microsoft.com/office/drawing/2014/main" id="{26F64177-3B3E-40F7-B577-7980815FABD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93071" y="610206"/>
            <a:ext cx="1069903" cy="1116000"/>
          </a:xfrm>
          <a:prstGeom prst="rect">
            <a:avLst/>
          </a:prstGeom>
        </p:spPr>
      </p:pic>
      <p:pic>
        <p:nvPicPr>
          <p:cNvPr id="7" name="Picture 6">
            <a:extLst>
              <a:ext uri="{FF2B5EF4-FFF2-40B4-BE49-F238E27FC236}">
                <a16:creationId xmlns:a16="http://schemas.microsoft.com/office/drawing/2014/main" id="{5A9B0240-C084-4A9C-9F90-CAB78A9AAC94}"/>
              </a:ext>
            </a:extLst>
          </p:cNvPr>
          <p:cNvPicPr>
            <a:picLocks noChangeAspect="1"/>
          </p:cNvPicPr>
          <p:nvPr/>
        </p:nvPicPr>
        <p:blipFill>
          <a:blip r:embed="rId7"/>
          <a:stretch>
            <a:fillRect/>
          </a:stretch>
        </p:blipFill>
        <p:spPr>
          <a:xfrm>
            <a:off x="1566862" y="2852737"/>
            <a:ext cx="9058275" cy="3133725"/>
          </a:xfrm>
          <a:prstGeom prst="rect">
            <a:avLst/>
          </a:prstGeom>
        </p:spPr>
      </p:pic>
    </p:spTree>
    <p:extLst>
      <p:ext uri="{BB962C8B-B14F-4D97-AF65-F5344CB8AC3E}">
        <p14:creationId xmlns:p14="http://schemas.microsoft.com/office/powerpoint/2010/main" val="11298749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1E33D7-5EE7-4E43-95B4-F82EFB01A789}"/>
              </a:ext>
            </a:extLst>
          </p:cNvPr>
          <p:cNvGraphicFramePr>
            <a:graphicFrameLocks noChangeAspect="1"/>
          </p:cNvGraphicFramePr>
          <p:nvPr>
            <p:custDataLst>
              <p:tags r:id="rId1"/>
            </p:custDataLst>
            <p:extLst>
              <p:ext uri="{D42A27DB-BD31-4B8C-83A1-F6EECF244321}">
                <p14:modId xmlns:p14="http://schemas.microsoft.com/office/powerpoint/2010/main" val="2606610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51E33D7-5EE7-4E43-95B4-F82EFB01A7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51A6D85-3837-435F-A342-5A3F98172B12}"/>
              </a:ext>
            </a:extLst>
          </p:cNvPr>
          <p:cNvSpPr>
            <a:spLocks noGrp="1"/>
          </p:cNvSpPr>
          <p:nvPr>
            <p:ph type="body" idx="1"/>
          </p:nvPr>
        </p:nvSpPr>
        <p:spPr>
          <a:xfrm>
            <a:off x="960120" y="4544568"/>
            <a:ext cx="10268712" cy="1545336"/>
          </a:xfrm>
        </p:spPr>
        <p:txBody>
          <a:bodyPr/>
          <a:lstStyle/>
          <a:p>
            <a:pPr algn="r"/>
            <a:r>
              <a:rPr lang="es-ES" dirty="0">
                <a:solidFill>
                  <a:srgbClr val="4D4D4D"/>
                </a:solidFill>
              </a:rPr>
              <a:t>Modelo de regresión; Python</a:t>
            </a:r>
          </a:p>
        </p:txBody>
      </p:sp>
      <p:pic>
        <p:nvPicPr>
          <p:cNvPr id="9" name="Picture 8" descr="A picture containing text, person, indoor&#10;&#10;Description automatically generated">
            <a:extLst>
              <a:ext uri="{FF2B5EF4-FFF2-40B4-BE49-F238E27FC236}">
                <a16:creationId xmlns:a16="http://schemas.microsoft.com/office/drawing/2014/main" id="{42B02CF1-CA98-4D0B-8FA3-A61D5F7936F9}"/>
              </a:ext>
            </a:extLst>
          </p:cNvPr>
          <p:cNvPicPr>
            <a:picLocks noChangeAspect="1"/>
          </p:cNvPicPr>
          <p:nvPr/>
        </p:nvPicPr>
        <p:blipFill rotWithShape="1">
          <a:blip r:embed="rId5"/>
          <a:srcRect t="23791" b="20384"/>
          <a:stretch/>
        </p:blipFill>
        <p:spPr>
          <a:xfrm>
            <a:off x="-3048" y="0"/>
            <a:ext cx="12195048" cy="4267200"/>
          </a:xfrm>
          <a:prstGeom prst="rect">
            <a:avLst/>
          </a:prstGeom>
        </p:spPr>
      </p:pic>
    </p:spTree>
    <p:extLst>
      <p:ext uri="{BB962C8B-B14F-4D97-AF65-F5344CB8AC3E}">
        <p14:creationId xmlns:p14="http://schemas.microsoft.com/office/powerpoint/2010/main" val="39365745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58D089-3C8A-4DB5-B385-1D8F29891C43}"/>
              </a:ext>
            </a:extLst>
          </p:cNvPr>
          <p:cNvGraphicFramePr>
            <a:graphicFrameLocks noChangeAspect="1"/>
          </p:cNvGraphicFramePr>
          <p:nvPr>
            <p:custDataLst>
              <p:tags r:id="rId1"/>
            </p:custDataLst>
            <p:extLst>
              <p:ext uri="{D42A27DB-BD31-4B8C-83A1-F6EECF244321}">
                <p14:modId xmlns:p14="http://schemas.microsoft.com/office/powerpoint/2010/main" val="537965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2" name="Object 11" hidden="1">
                        <a:extLst>
                          <a:ext uri="{FF2B5EF4-FFF2-40B4-BE49-F238E27FC236}">
                            <a16:creationId xmlns:a16="http://schemas.microsoft.com/office/drawing/2014/main" id="{F658D089-3C8A-4DB5-B385-1D8F29891C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BC026C30-370D-422C-B358-C213412E37E6}"/>
              </a:ext>
            </a:extLst>
          </p:cNvPr>
          <p:cNvSpPr/>
          <p:nvPr/>
        </p:nvSpPr>
        <p:spPr>
          <a:xfrm>
            <a:off x="466344" y="3354354"/>
            <a:ext cx="11119678" cy="1034766"/>
          </a:xfrm>
          <a:prstGeom prst="rect">
            <a:avLst/>
          </a:prstGeom>
          <a:solidFill>
            <a:schemeClr val="bg1">
              <a:lumMod val="95000"/>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4D4D4D"/>
              </a:solidFill>
            </a:endParaRPr>
          </a:p>
        </p:txBody>
      </p:sp>
      <p:sp>
        <p:nvSpPr>
          <p:cNvPr id="41" name="Rectangle 40">
            <a:extLst>
              <a:ext uri="{FF2B5EF4-FFF2-40B4-BE49-F238E27FC236}">
                <a16:creationId xmlns:a16="http://schemas.microsoft.com/office/drawing/2014/main" id="{99367061-A2E7-406D-80E8-DA7268C418EE}"/>
              </a:ext>
            </a:extLst>
          </p:cNvPr>
          <p:cNvSpPr/>
          <p:nvPr/>
        </p:nvSpPr>
        <p:spPr>
          <a:xfrm>
            <a:off x="466344" y="4917440"/>
            <a:ext cx="11119678" cy="1034766"/>
          </a:xfrm>
          <a:prstGeom prst="rect">
            <a:avLst/>
          </a:prstGeom>
          <a:solidFill>
            <a:schemeClr val="bg1">
              <a:lumMod val="95000"/>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4D4D4D"/>
              </a:solidFill>
            </a:endParaRPr>
          </a:p>
        </p:txBody>
      </p:sp>
      <p:sp>
        <p:nvSpPr>
          <p:cNvPr id="15" name="TextBox 14">
            <a:extLst>
              <a:ext uri="{FF2B5EF4-FFF2-40B4-BE49-F238E27FC236}">
                <a16:creationId xmlns:a16="http://schemas.microsoft.com/office/drawing/2014/main" id="{F617FC84-950B-4E5B-B049-9F0611CCBAC8}"/>
              </a:ext>
            </a:extLst>
          </p:cNvPr>
          <p:cNvSpPr txBox="1"/>
          <p:nvPr/>
        </p:nvSpPr>
        <p:spPr>
          <a:xfrm>
            <a:off x="717738" y="3487017"/>
            <a:ext cx="968822" cy="769441"/>
          </a:xfrm>
          <a:prstGeom prst="rect">
            <a:avLst/>
          </a:prstGeom>
          <a:noFill/>
        </p:spPr>
        <p:txBody>
          <a:bodyPr wrap="square" rtlCol="0" anchor="ctr">
            <a:spAutoFit/>
          </a:bodyPr>
          <a:lstStyle/>
          <a:p>
            <a:pPr algn="ctr"/>
            <a:r>
              <a:rPr lang="es-ES" sz="4400" b="1" dirty="0"/>
              <a:t>R2</a:t>
            </a:r>
          </a:p>
        </p:txBody>
      </p:sp>
      <p:sp>
        <p:nvSpPr>
          <p:cNvPr id="44" name="TextBox 43">
            <a:extLst>
              <a:ext uri="{FF2B5EF4-FFF2-40B4-BE49-F238E27FC236}">
                <a16:creationId xmlns:a16="http://schemas.microsoft.com/office/drawing/2014/main" id="{0168D469-DDFF-4B0C-91A0-D3BA7D9741F7}"/>
              </a:ext>
            </a:extLst>
          </p:cNvPr>
          <p:cNvSpPr txBox="1"/>
          <p:nvPr/>
        </p:nvSpPr>
        <p:spPr>
          <a:xfrm>
            <a:off x="717738" y="5050103"/>
            <a:ext cx="1446342" cy="769441"/>
          </a:xfrm>
          <a:prstGeom prst="rect">
            <a:avLst/>
          </a:prstGeom>
          <a:noFill/>
        </p:spPr>
        <p:txBody>
          <a:bodyPr wrap="square" rtlCol="0" anchor="ctr">
            <a:spAutoFit/>
          </a:bodyPr>
          <a:lstStyle/>
          <a:p>
            <a:pPr algn="ctr"/>
            <a:r>
              <a:rPr lang="es-ES" sz="4400" b="1" dirty="0"/>
              <a:t>MAE</a:t>
            </a:r>
          </a:p>
        </p:txBody>
      </p:sp>
      <p:sp>
        <p:nvSpPr>
          <p:cNvPr id="2" name="Title 1">
            <a:extLst>
              <a:ext uri="{FF2B5EF4-FFF2-40B4-BE49-F238E27FC236}">
                <a16:creationId xmlns:a16="http://schemas.microsoft.com/office/drawing/2014/main" id="{B8D6B1B9-77FC-433D-9851-1201CFDA3270}"/>
              </a:ext>
            </a:extLst>
          </p:cNvPr>
          <p:cNvSpPr>
            <a:spLocks noGrp="1"/>
          </p:cNvSpPr>
          <p:nvPr>
            <p:ph type="title"/>
          </p:nvPr>
        </p:nvSpPr>
        <p:spPr>
          <a:xfrm>
            <a:off x="466344" y="317814"/>
            <a:ext cx="10268712" cy="1700784"/>
          </a:xfrm>
        </p:spPr>
        <p:txBody>
          <a:bodyPr vert="horz">
            <a:normAutofit/>
          </a:bodyPr>
          <a:lstStyle/>
          <a:p>
            <a:r>
              <a:rPr lang="es-ES" sz="5400" cap="none" dirty="0"/>
              <a:t>Modelo de regresión</a:t>
            </a:r>
          </a:p>
        </p:txBody>
      </p:sp>
      <p:sp>
        <p:nvSpPr>
          <p:cNvPr id="11" name="Slide Number Placeholder 9">
            <a:extLst>
              <a:ext uri="{FF2B5EF4-FFF2-40B4-BE49-F238E27FC236}">
                <a16:creationId xmlns:a16="http://schemas.microsoft.com/office/drawing/2014/main" id="{1AEC9149-F5C3-45FA-B09D-CF6B7D2456CD}"/>
              </a:ext>
            </a:extLst>
          </p:cNvPr>
          <p:cNvSpPr>
            <a:spLocks noGrp="1"/>
          </p:cNvSpPr>
          <p:nvPr>
            <p:ph type="sldNum" sz="quarter" idx="12"/>
          </p:nvPr>
        </p:nvSpPr>
        <p:spPr>
          <a:xfrm>
            <a:off x="0" y="6356350"/>
            <a:ext cx="932688" cy="365125"/>
          </a:xfrm>
        </p:spPr>
        <p:txBody>
          <a:bodyPr/>
          <a:lstStyle/>
          <a:p>
            <a:fld id="{F97E8200-1950-409B-82E7-99938E7AE355}" type="slidenum">
              <a:rPr lang="en-US" smtClean="0"/>
              <a:pPr/>
              <a:t>16</a:t>
            </a:fld>
            <a:endParaRPr lang="en-US" dirty="0"/>
          </a:p>
        </p:txBody>
      </p:sp>
      <p:pic>
        <p:nvPicPr>
          <p:cNvPr id="19" name="Picture 18" descr="Icon&#10;&#10;Description automatically generated with medium confidence">
            <a:extLst>
              <a:ext uri="{FF2B5EF4-FFF2-40B4-BE49-F238E27FC236}">
                <a16:creationId xmlns:a16="http://schemas.microsoft.com/office/drawing/2014/main" id="{9E85B7F0-8B6D-4ED1-9341-1F9B79C7CA4B}"/>
              </a:ext>
            </a:extLst>
          </p:cNvPr>
          <p:cNvPicPr>
            <a:picLocks noChangeAspect="1"/>
          </p:cNvPicPr>
          <p:nvPr/>
        </p:nvPicPr>
        <p:blipFill>
          <a:blip r:embed="rId6">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10470023" y="610206"/>
            <a:ext cx="1116000" cy="1116000"/>
          </a:xfrm>
          <a:prstGeom prst="rect">
            <a:avLst/>
          </a:prstGeom>
        </p:spPr>
      </p:pic>
      <p:grpSp>
        <p:nvGrpSpPr>
          <p:cNvPr id="17" name="Group 16">
            <a:extLst>
              <a:ext uri="{FF2B5EF4-FFF2-40B4-BE49-F238E27FC236}">
                <a16:creationId xmlns:a16="http://schemas.microsoft.com/office/drawing/2014/main" id="{1C874EDB-89E5-4BC8-B00F-45C1B0576619}"/>
              </a:ext>
            </a:extLst>
          </p:cNvPr>
          <p:cNvGrpSpPr/>
          <p:nvPr/>
        </p:nvGrpSpPr>
        <p:grpSpPr>
          <a:xfrm>
            <a:off x="2426208" y="2414508"/>
            <a:ext cx="3362960" cy="3793252"/>
            <a:chOff x="2910840" y="2414508"/>
            <a:chExt cx="3362960" cy="3793252"/>
          </a:xfrm>
          <a:effectLst>
            <a:outerShdw blurRad="50800" dist="38100" dir="5400000" algn="t" rotWithShape="0">
              <a:schemeClr val="bg1">
                <a:lumMod val="50000"/>
                <a:alpha val="40000"/>
              </a:schemeClr>
            </a:outerShdw>
          </a:effectLst>
        </p:grpSpPr>
        <p:sp>
          <p:nvSpPr>
            <p:cNvPr id="46" name="Rectangle 45">
              <a:extLst>
                <a:ext uri="{FF2B5EF4-FFF2-40B4-BE49-F238E27FC236}">
                  <a16:creationId xmlns:a16="http://schemas.microsoft.com/office/drawing/2014/main" id="{10E1F089-367D-4757-B8FF-A63270A59E69}"/>
                </a:ext>
              </a:extLst>
            </p:cNvPr>
            <p:cNvSpPr/>
            <p:nvPr/>
          </p:nvSpPr>
          <p:spPr>
            <a:xfrm>
              <a:off x="2910840" y="2414508"/>
              <a:ext cx="3362960" cy="3793252"/>
            </a:xfrm>
            <a:prstGeom prst="rect">
              <a:avLst/>
            </a:prstGeom>
            <a:solidFill>
              <a:schemeClr val="bg1">
                <a:lumMod val="95000"/>
                <a:alpha val="35000"/>
              </a:schemeClr>
            </a:solidFill>
            <a:ln>
              <a:solidFill>
                <a:srgbClr val="4AB5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4D4D4D"/>
                </a:solidFill>
              </a:endParaRPr>
            </a:p>
          </p:txBody>
        </p:sp>
        <p:sp>
          <p:nvSpPr>
            <p:cNvPr id="10" name="TextBox 9">
              <a:extLst>
                <a:ext uri="{FF2B5EF4-FFF2-40B4-BE49-F238E27FC236}">
                  <a16:creationId xmlns:a16="http://schemas.microsoft.com/office/drawing/2014/main" id="{41F94566-59B8-4F06-BDDC-FE8BC8175F41}"/>
                </a:ext>
              </a:extLst>
            </p:cNvPr>
            <p:cNvSpPr txBox="1"/>
            <p:nvPr/>
          </p:nvSpPr>
          <p:spPr>
            <a:xfrm>
              <a:off x="2910840" y="2414508"/>
              <a:ext cx="3362960" cy="939846"/>
            </a:xfrm>
            <a:prstGeom prst="rect">
              <a:avLst/>
            </a:prstGeom>
            <a:noFill/>
            <a:ln>
              <a:noFill/>
            </a:ln>
          </p:spPr>
          <p:txBody>
            <a:bodyPr wrap="square" rtlCol="0" anchor="ctr">
              <a:noAutofit/>
            </a:bodyPr>
            <a:lstStyle/>
            <a:p>
              <a:pPr algn="ctr"/>
              <a:r>
                <a:rPr lang="es-ES" dirty="0" err="1">
                  <a:solidFill>
                    <a:srgbClr val="4D4D4D"/>
                  </a:solidFill>
                </a:rPr>
                <a:t>RandomForestRegressor</a:t>
              </a:r>
              <a:r>
                <a:rPr lang="es-ES" dirty="0">
                  <a:solidFill>
                    <a:srgbClr val="4D4D4D"/>
                  </a:solidFill>
                </a:rPr>
                <a:t> (</a:t>
              </a:r>
              <a:r>
                <a:rPr lang="es-ES" i="1" dirty="0" err="1">
                  <a:solidFill>
                    <a:srgbClr val="4D4D4D"/>
                  </a:solidFill>
                </a:rPr>
                <a:t>rfr</a:t>
              </a:r>
              <a:r>
                <a:rPr lang="es-ES" dirty="0">
                  <a:solidFill>
                    <a:srgbClr val="4D4D4D"/>
                  </a:solidFill>
                </a:rPr>
                <a:t>)</a:t>
              </a:r>
            </a:p>
          </p:txBody>
        </p:sp>
        <p:sp>
          <p:nvSpPr>
            <p:cNvPr id="16" name="TextBox 15">
              <a:extLst>
                <a:ext uri="{FF2B5EF4-FFF2-40B4-BE49-F238E27FC236}">
                  <a16:creationId xmlns:a16="http://schemas.microsoft.com/office/drawing/2014/main" id="{A1ECFBC0-7CA0-472C-9AF4-B4931C27B00C}"/>
                </a:ext>
              </a:extLst>
            </p:cNvPr>
            <p:cNvSpPr txBox="1"/>
            <p:nvPr/>
          </p:nvSpPr>
          <p:spPr>
            <a:xfrm>
              <a:off x="2910840" y="3354354"/>
              <a:ext cx="3362960" cy="1034766"/>
            </a:xfrm>
            <a:prstGeom prst="rect">
              <a:avLst/>
            </a:prstGeom>
            <a:noFill/>
          </p:spPr>
          <p:txBody>
            <a:bodyPr wrap="square" rtlCol="0" anchor="ctr">
              <a:noAutofit/>
            </a:bodyPr>
            <a:lstStyle/>
            <a:p>
              <a:pPr algn="ctr"/>
              <a:r>
                <a:rPr lang="es-ES" dirty="0">
                  <a:solidFill>
                    <a:srgbClr val="4D4D4D"/>
                  </a:solidFill>
                </a:rPr>
                <a:t>0.8046</a:t>
              </a:r>
            </a:p>
          </p:txBody>
        </p:sp>
        <p:sp>
          <p:nvSpPr>
            <p:cNvPr id="48" name="TextBox 47">
              <a:extLst>
                <a:ext uri="{FF2B5EF4-FFF2-40B4-BE49-F238E27FC236}">
                  <a16:creationId xmlns:a16="http://schemas.microsoft.com/office/drawing/2014/main" id="{01919BDB-CED7-419F-B9F7-90D7FDC88433}"/>
                </a:ext>
              </a:extLst>
            </p:cNvPr>
            <p:cNvSpPr txBox="1"/>
            <p:nvPr/>
          </p:nvSpPr>
          <p:spPr>
            <a:xfrm>
              <a:off x="2910840" y="4917440"/>
              <a:ext cx="3362960" cy="1034766"/>
            </a:xfrm>
            <a:prstGeom prst="rect">
              <a:avLst/>
            </a:prstGeom>
            <a:noFill/>
          </p:spPr>
          <p:txBody>
            <a:bodyPr wrap="square" rtlCol="0" anchor="ctr">
              <a:noAutofit/>
            </a:bodyPr>
            <a:lstStyle/>
            <a:p>
              <a:pPr algn="ctr"/>
              <a:r>
                <a:rPr lang="es-ES" dirty="0">
                  <a:solidFill>
                    <a:srgbClr val="4D4D4D"/>
                  </a:solidFill>
                </a:rPr>
                <a:t>4.672</a:t>
              </a:r>
            </a:p>
          </p:txBody>
        </p:sp>
      </p:grpSp>
      <p:grpSp>
        <p:nvGrpSpPr>
          <p:cNvPr id="20" name="Group 19">
            <a:extLst>
              <a:ext uri="{FF2B5EF4-FFF2-40B4-BE49-F238E27FC236}">
                <a16:creationId xmlns:a16="http://schemas.microsoft.com/office/drawing/2014/main" id="{A2342F6F-AFE7-427C-95CC-A684F05845E6}"/>
              </a:ext>
            </a:extLst>
          </p:cNvPr>
          <p:cNvGrpSpPr/>
          <p:nvPr/>
        </p:nvGrpSpPr>
        <p:grpSpPr>
          <a:xfrm>
            <a:off x="7100967" y="2414508"/>
            <a:ext cx="3369056" cy="3793252"/>
            <a:chOff x="7472172" y="2414508"/>
            <a:chExt cx="3369056" cy="3793252"/>
          </a:xfrm>
          <a:effectLst>
            <a:outerShdw blurRad="50800" dist="38100" dir="5400000" algn="t" rotWithShape="0">
              <a:schemeClr val="bg1">
                <a:lumMod val="50000"/>
                <a:alpha val="40000"/>
              </a:schemeClr>
            </a:outerShdw>
          </a:effectLst>
        </p:grpSpPr>
        <p:sp>
          <p:nvSpPr>
            <p:cNvPr id="47" name="Rectangle 46">
              <a:extLst>
                <a:ext uri="{FF2B5EF4-FFF2-40B4-BE49-F238E27FC236}">
                  <a16:creationId xmlns:a16="http://schemas.microsoft.com/office/drawing/2014/main" id="{37AA64E3-955D-4D0E-9931-C2749FA69F65}"/>
                </a:ext>
              </a:extLst>
            </p:cNvPr>
            <p:cNvSpPr/>
            <p:nvPr/>
          </p:nvSpPr>
          <p:spPr>
            <a:xfrm>
              <a:off x="7475220" y="2414508"/>
              <a:ext cx="3362960" cy="3793252"/>
            </a:xfrm>
            <a:prstGeom prst="rect">
              <a:avLst/>
            </a:prstGeom>
            <a:solidFill>
              <a:schemeClr val="bg1">
                <a:lumMod val="95000"/>
                <a:alpha val="35000"/>
              </a:schemeClr>
            </a:solidFill>
            <a:ln>
              <a:solidFill>
                <a:srgbClr val="4AB5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4D4D4D"/>
                </a:solidFill>
              </a:endParaRPr>
            </a:p>
          </p:txBody>
        </p:sp>
        <p:sp>
          <p:nvSpPr>
            <p:cNvPr id="35" name="TextBox 34">
              <a:extLst>
                <a:ext uri="{FF2B5EF4-FFF2-40B4-BE49-F238E27FC236}">
                  <a16:creationId xmlns:a16="http://schemas.microsoft.com/office/drawing/2014/main" id="{28CA16BA-C1F9-4B9B-8350-8F7E2F02D3AB}"/>
                </a:ext>
              </a:extLst>
            </p:cNvPr>
            <p:cNvSpPr txBox="1"/>
            <p:nvPr/>
          </p:nvSpPr>
          <p:spPr>
            <a:xfrm>
              <a:off x="7475220" y="2414508"/>
              <a:ext cx="3362960" cy="939846"/>
            </a:xfrm>
            <a:prstGeom prst="rect">
              <a:avLst/>
            </a:prstGeom>
            <a:noFill/>
            <a:ln>
              <a:noFill/>
            </a:ln>
          </p:spPr>
          <p:txBody>
            <a:bodyPr wrap="square" rtlCol="0" anchor="ctr">
              <a:noAutofit/>
            </a:bodyPr>
            <a:lstStyle/>
            <a:p>
              <a:pPr algn="ctr"/>
              <a:r>
                <a:rPr lang="es-ES" dirty="0">
                  <a:solidFill>
                    <a:srgbClr val="4D4D4D"/>
                  </a:solidFill>
                </a:rPr>
                <a:t>Regresión lineal (</a:t>
              </a:r>
              <a:r>
                <a:rPr lang="es-ES" i="1" dirty="0" err="1">
                  <a:solidFill>
                    <a:srgbClr val="4D4D4D"/>
                  </a:solidFill>
                </a:rPr>
                <a:t>linreg</a:t>
              </a:r>
              <a:r>
                <a:rPr lang="es-ES" dirty="0">
                  <a:solidFill>
                    <a:srgbClr val="4D4D4D"/>
                  </a:solidFill>
                </a:rPr>
                <a:t>)</a:t>
              </a:r>
            </a:p>
          </p:txBody>
        </p:sp>
        <p:sp>
          <p:nvSpPr>
            <p:cNvPr id="49" name="TextBox 48">
              <a:extLst>
                <a:ext uri="{FF2B5EF4-FFF2-40B4-BE49-F238E27FC236}">
                  <a16:creationId xmlns:a16="http://schemas.microsoft.com/office/drawing/2014/main" id="{2823646C-A062-45A2-80A1-87E65975CA76}"/>
                </a:ext>
              </a:extLst>
            </p:cNvPr>
            <p:cNvSpPr txBox="1"/>
            <p:nvPr/>
          </p:nvSpPr>
          <p:spPr>
            <a:xfrm>
              <a:off x="7478268" y="3354354"/>
              <a:ext cx="3362960" cy="1034766"/>
            </a:xfrm>
            <a:prstGeom prst="rect">
              <a:avLst/>
            </a:prstGeom>
            <a:noFill/>
          </p:spPr>
          <p:txBody>
            <a:bodyPr wrap="square" rtlCol="0" anchor="ctr">
              <a:noAutofit/>
            </a:bodyPr>
            <a:lstStyle/>
            <a:p>
              <a:pPr algn="ctr"/>
              <a:r>
                <a:rPr lang="es-ES" dirty="0">
                  <a:solidFill>
                    <a:srgbClr val="4D4D4D"/>
                  </a:solidFill>
                </a:rPr>
                <a:t>0.817</a:t>
              </a:r>
            </a:p>
          </p:txBody>
        </p:sp>
        <p:sp>
          <p:nvSpPr>
            <p:cNvPr id="50" name="TextBox 49">
              <a:extLst>
                <a:ext uri="{FF2B5EF4-FFF2-40B4-BE49-F238E27FC236}">
                  <a16:creationId xmlns:a16="http://schemas.microsoft.com/office/drawing/2014/main" id="{9782AA86-A28C-4F2E-93BD-388DB362927E}"/>
                </a:ext>
              </a:extLst>
            </p:cNvPr>
            <p:cNvSpPr txBox="1"/>
            <p:nvPr/>
          </p:nvSpPr>
          <p:spPr>
            <a:xfrm>
              <a:off x="7472172" y="4917440"/>
              <a:ext cx="3362960" cy="1034766"/>
            </a:xfrm>
            <a:prstGeom prst="rect">
              <a:avLst/>
            </a:prstGeom>
            <a:noFill/>
          </p:spPr>
          <p:txBody>
            <a:bodyPr wrap="square" rtlCol="0" anchor="ctr">
              <a:noAutofit/>
            </a:bodyPr>
            <a:lstStyle/>
            <a:p>
              <a:pPr algn="ctr"/>
              <a:r>
                <a:rPr lang="es-ES" dirty="0">
                  <a:solidFill>
                    <a:srgbClr val="4D4D4D"/>
                  </a:solidFill>
                </a:rPr>
                <a:t>4.6746</a:t>
              </a:r>
            </a:p>
          </p:txBody>
        </p:sp>
      </p:grpSp>
      <p:sp>
        <p:nvSpPr>
          <p:cNvPr id="51" name="Footer Placeholder 8">
            <a:extLst>
              <a:ext uri="{FF2B5EF4-FFF2-40B4-BE49-F238E27FC236}">
                <a16:creationId xmlns:a16="http://schemas.microsoft.com/office/drawing/2014/main" id="{320B436F-4886-4A1D-8855-4DDFDCC741D6}"/>
              </a:ext>
            </a:extLst>
          </p:cNvPr>
          <p:cNvSpPr>
            <a:spLocks noGrp="1"/>
          </p:cNvSpPr>
          <p:nvPr>
            <p:ph type="ftr" sz="quarter" idx="11"/>
          </p:nvPr>
        </p:nvSpPr>
        <p:spPr>
          <a:xfrm>
            <a:off x="960120" y="6356350"/>
            <a:ext cx="4514087" cy="365125"/>
          </a:xfrm>
        </p:spPr>
        <p:txBody>
          <a:bodyPr/>
          <a:lstStyle/>
          <a:p>
            <a:r>
              <a:rPr lang="es-ES" cap="none"/>
              <a:t>R2: Coeficiente de determinación; MAE: Error medio absoluto</a:t>
            </a:r>
          </a:p>
        </p:txBody>
      </p:sp>
      <p:sp>
        <p:nvSpPr>
          <p:cNvPr id="3" name="Rectangle 1">
            <a:extLst>
              <a:ext uri="{FF2B5EF4-FFF2-40B4-BE49-F238E27FC236}">
                <a16:creationId xmlns:a16="http://schemas.microsoft.com/office/drawing/2014/main" id="{2E494E12-8E7F-4548-AE28-B7AB1DDBBC79}"/>
              </a:ext>
            </a:extLst>
          </p:cNvPr>
          <p:cNvSpPr>
            <a:spLocks noChangeArrowheads="1"/>
          </p:cNvSpPr>
          <p:nvPr/>
        </p:nvSpPr>
        <p:spPr bwMode="auto">
          <a:xfrm>
            <a:off x="0" y="0"/>
            <a:ext cx="12192000" cy="4572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var(--jp-code-font-family)"/>
              </a:rPr>
              <a:t>0.8170</a:t>
            </a:r>
            <a:r>
              <a:rPr kumimoji="0" lang="en-US" altLang="en-US" sz="800" b="0" i="0" u="none" strike="noStrike" cap="none" normalizeH="0" baseline="0">
                <a:ln>
                  <a:noFill/>
                </a:ln>
                <a:solidFill>
                  <a:schemeClr val="tx1"/>
                </a:solidFill>
                <a:effectLst/>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135579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1E33D7-5EE7-4E43-95B4-F82EFB01A7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51E33D7-5EE7-4E43-95B4-F82EFB01A7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51A6D85-3837-435F-A342-5A3F98172B12}"/>
              </a:ext>
            </a:extLst>
          </p:cNvPr>
          <p:cNvSpPr>
            <a:spLocks noGrp="1"/>
          </p:cNvSpPr>
          <p:nvPr>
            <p:ph type="body" idx="1"/>
          </p:nvPr>
        </p:nvSpPr>
        <p:spPr>
          <a:xfrm>
            <a:off x="960120" y="4544568"/>
            <a:ext cx="10268712" cy="1545336"/>
          </a:xfrm>
        </p:spPr>
        <p:txBody>
          <a:bodyPr/>
          <a:lstStyle/>
          <a:p>
            <a:pPr algn="r"/>
            <a:r>
              <a:rPr lang="es-ES" dirty="0">
                <a:solidFill>
                  <a:srgbClr val="4D4D4D"/>
                </a:solidFill>
              </a:rPr>
              <a:t>Conculsiones</a:t>
            </a:r>
          </a:p>
        </p:txBody>
      </p:sp>
      <p:pic>
        <p:nvPicPr>
          <p:cNvPr id="3" name="Picture 2" descr="A picture containing text&#10;&#10;Description automatically generated">
            <a:extLst>
              <a:ext uri="{FF2B5EF4-FFF2-40B4-BE49-F238E27FC236}">
                <a16:creationId xmlns:a16="http://schemas.microsoft.com/office/drawing/2014/main" id="{992AC709-752B-46AE-8930-7B1729EE785D}"/>
              </a:ext>
            </a:extLst>
          </p:cNvPr>
          <p:cNvPicPr>
            <a:picLocks noChangeAspect="1"/>
          </p:cNvPicPr>
          <p:nvPr/>
        </p:nvPicPr>
        <p:blipFill rotWithShape="1">
          <a:blip r:embed="rId5"/>
          <a:srcRect l="-25" t="16564" r="25" b="27537"/>
          <a:stretch/>
        </p:blipFill>
        <p:spPr>
          <a:xfrm>
            <a:off x="0" y="-1"/>
            <a:ext cx="12195047" cy="4256315"/>
          </a:xfrm>
          <a:prstGeom prst="rect">
            <a:avLst/>
          </a:prstGeom>
        </p:spPr>
      </p:pic>
    </p:spTree>
    <p:extLst>
      <p:ext uri="{BB962C8B-B14F-4D97-AF65-F5344CB8AC3E}">
        <p14:creationId xmlns:p14="http://schemas.microsoft.com/office/powerpoint/2010/main" val="24185017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8EEF52F-DD21-46DA-8F8A-DD5CE70BD884}"/>
              </a:ext>
            </a:extLst>
          </p:cNvPr>
          <p:cNvGraphicFramePr>
            <a:graphicFrameLocks noChangeAspect="1"/>
          </p:cNvGraphicFramePr>
          <p:nvPr>
            <p:custDataLst>
              <p:tags r:id="rId1"/>
            </p:custDataLst>
            <p:extLst>
              <p:ext uri="{D42A27DB-BD31-4B8C-83A1-F6EECF244321}">
                <p14:modId xmlns:p14="http://schemas.microsoft.com/office/powerpoint/2010/main" val="1210892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C8EEF52F-DD21-46DA-8F8A-DD5CE70BD8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4E90F0-1332-4640-8E6F-AB413068C685}"/>
              </a:ext>
            </a:extLst>
          </p:cNvPr>
          <p:cNvSpPr>
            <a:spLocks noGrp="1"/>
          </p:cNvSpPr>
          <p:nvPr>
            <p:ph type="title"/>
          </p:nvPr>
        </p:nvSpPr>
        <p:spPr>
          <a:xfrm>
            <a:off x="960438" y="952500"/>
            <a:ext cx="3894591" cy="825500"/>
          </a:xfrm>
        </p:spPr>
        <p:txBody>
          <a:bodyPr vert="horz"/>
          <a:lstStyle/>
          <a:p>
            <a:r>
              <a:rPr lang="es-ES" cap="none" dirty="0"/>
              <a:t>Conclusiones</a:t>
            </a:r>
          </a:p>
        </p:txBody>
      </p:sp>
      <p:pic>
        <p:nvPicPr>
          <p:cNvPr id="11" name="Picture 10" descr="A windmill in a field&#10;&#10;Description automatically generated with medium confidence">
            <a:extLst>
              <a:ext uri="{FF2B5EF4-FFF2-40B4-BE49-F238E27FC236}">
                <a16:creationId xmlns:a16="http://schemas.microsoft.com/office/drawing/2014/main" id="{A75EB3B5-B8CF-4D72-95F3-815F0621F107}"/>
              </a:ext>
            </a:extLst>
          </p:cNvPr>
          <p:cNvPicPr>
            <a:picLocks noChangeAspect="1"/>
          </p:cNvPicPr>
          <p:nvPr/>
        </p:nvPicPr>
        <p:blipFill>
          <a:blip r:embed="rId6"/>
          <a:stretch>
            <a:fillRect/>
          </a:stretch>
        </p:blipFill>
        <p:spPr>
          <a:xfrm>
            <a:off x="1715727" y="2413000"/>
            <a:ext cx="2384012" cy="3699260"/>
          </a:xfrm>
          <a:prstGeom prst="rect">
            <a:avLst/>
          </a:prstGeom>
        </p:spPr>
      </p:pic>
      <p:sp>
        <p:nvSpPr>
          <p:cNvPr id="12" name="Rectangle 11">
            <a:extLst>
              <a:ext uri="{FF2B5EF4-FFF2-40B4-BE49-F238E27FC236}">
                <a16:creationId xmlns:a16="http://schemas.microsoft.com/office/drawing/2014/main" id="{2BDEC9FD-B42B-4092-AE6C-5241D675CD01}"/>
              </a:ext>
            </a:extLst>
          </p:cNvPr>
          <p:cNvSpPr/>
          <p:nvPr/>
        </p:nvSpPr>
        <p:spPr>
          <a:xfrm>
            <a:off x="674914" y="6356350"/>
            <a:ext cx="1861457" cy="365125"/>
          </a:xfrm>
          <a:prstGeom prst="rect">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 name="Slide Number Placeholder 7">
            <a:extLst>
              <a:ext uri="{FF2B5EF4-FFF2-40B4-BE49-F238E27FC236}">
                <a16:creationId xmlns:a16="http://schemas.microsoft.com/office/drawing/2014/main" id="{8F77ADD7-51EB-4EA8-9402-144A8A5EA728}"/>
              </a:ext>
            </a:extLst>
          </p:cNvPr>
          <p:cNvSpPr>
            <a:spLocks noGrp="1"/>
          </p:cNvSpPr>
          <p:nvPr>
            <p:ph type="sldNum" sz="quarter" idx="12"/>
          </p:nvPr>
        </p:nvSpPr>
        <p:spPr>
          <a:xfrm>
            <a:off x="0" y="6356350"/>
            <a:ext cx="932688" cy="365125"/>
          </a:xfrm>
        </p:spPr>
        <p:txBody>
          <a:bodyPr/>
          <a:lstStyle/>
          <a:p>
            <a:fld id="{294A09A9-5501-47C1-A89A-A340965A2BE2}" type="slidenum">
              <a:rPr lang="en-US" smtClean="0">
                <a:solidFill>
                  <a:schemeClr val="bg1"/>
                </a:solidFill>
              </a:rPr>
              <a:t>18</a:t>
            </a:fld>
            <a:endParaRPr lang="en-US" dirty="0">
              <a:solidFill>
                <a:schemeClr val="bg1"/>
              </a:solidFill>
            </a:endParaRPr>
          </a:p>
        </p:txBody>
      </p:sp>
      <p:grpSp>
        <p:nvGrpSpPr>
          <p:cNvPr id="3" name="Group 2">
            <a:extLst>
              <a:ext uri="{FF2B5EF4-FFF2-40B4-BE49-F238E27FC236}">
                <a16:creationId xmlns:a16="http://schemas.microsoft.com/office/drawing/2014/main" id="{38461EB4-7F76-45BD-B340-06EBF29E07D8}"/>
              </a:ext>
            </a:extLst>
          </p:cNvPr>
          <p:cNvGrpSpPr/>
          <p:nvPr/>
        </p:nvGrpSpPr>
        <p:grpSpPr>
          <a:xfrm>
            <a:off x="6472200" y="3146662"/>
            <a:ext cx="5357850" cy="914400"/>
            <a:chOff x="6472200" y="3144429"/>
            <a:chExt cx="5357850" cy="914400"/>
          </a:xfrm>
        </p:grpSpPr>
        <p:sp>
          <p:nvSpPr>
            <p:cNvPr id="14" name="TextBox 13">
              <a:extLst>
                <a:ext uri="{FF2B5EF4-FFF2-40B4-BE49-F238E27FC236}">
                  <a16:creationId xmlns:a16="http://schemas.microsoft.com/office/drawing/2014/main" id="{B61634E1-0581-4618-9575-41B8240470E7}"/>
                </a:ext>
              </a:extLst>
            </p:cNvPr>
            <p:cNvSpPr txBox="1"/>
            <p:nvPr/>
          </p:nvSpPr>
          <p:spPr>
            <a:xfrm>
              <a:off x="7543799" y="3278464"/>
              <a:ext cx="4286251" cy="646331"/>
            </a:xfrm>
            <a:prstGeom prst="rect">
              <a:avLst/>
            </a:prstGeom>
            <a:noFill/>
          </p:spPr>
          <p:txBody>
            <a:bodyPr wrap="square" rtlCol="0">
              <a:spAutoFit/>
            </a:bodyPr>
            <a:lstStyle/>
            <a:p>
              <a:r>
                <a:rPr lang="es-ES" dirty="0">
                  <a:solidFill>
                    <a:srgbClr val="4D4D4D"/>
                  </a:solidFill>
                </a:rPr>
                <a:t>La severidad climática afecta directamente en las emisiones de CO2</a:t>
              </a:r>
            </a:p>
          </p:txBody>
        </p:sp>
        <p:pic>
          <p:nvPicPr>
            <p:cNvPr id="4" name="Graphic 3" descr="Business Growth with solid fill">
              <a:extLst>
                <a:ext uri="{FF2B5EF4-FFF2-40B4-BE49-F238E27FC236}">
                  <a16:creationId xmlns:a16="http://schemas.microsoft.com/office/drawing/2014/main" id="{997B95C1-C33F-40B3-886C-76EDFE457A1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72200" y="3144429"/>
              <a:ext cx="914400" cy="914400"/>
            </a:xfrm>
            <a:prstGeom prst="rect">
              <a:avLst/>
            </a:prstGeom>
            <a:effectLst>
              <a:outerShdw blurRad="50800" dist="38100" dir="5400000" algn="t" rotWithShape="0">
                <a:schemeClr val="bg1">
                  <a:lumMod val="50000"/>
                  <a:alpha val="40000"/>
                </a:schemeClr>
              </a:outerShdw>
            </a:effectLst>
          </p:spPr>
        </p:pic>
      </p:grpSp>
      <p:grpSp>
        <p:nvGrpSpPr>
          <p:cNvPr id="5" name="Group 4">
            <a:extLst>
              <a:ext uri="{FF2B5EF4-FFF2-40B4-BE49-F238E27FC236}">
                <a16:creationId xmlns:a16="http://schemas.microsoft.com/office/drawing/2014/main" id="{E482795E-CE98-4D60-807A-76A73B895213}"/>
              </a:ext>
            </a:extLst>
          </p:cNvPr>
          <p:cNvGrpSpPr/>
          <p:nvPr/>
        </p:nvGrpSpPr>
        <p:grpSpPr>
          <a:xfrm>
            <a:off x="6472200" y="5331894"/>
            <a:ext cx="5357850" cy="914400"/>
            <a:chOff x="6472200" y="5331894"/>
            <a:chExt cx="5357850" cy="914400"/>
          </a:xfrm>
        </p:grpSpPr>
        <p:sp>
          <p:nvSpPr>
            <p:cNvPr id="15" name="TextBox 14">
              <a:extLst>
                <a:ext uri="{FF2B5EF4-FFF2-40B4-BE49-F238E27FC236}">
                  <a16:creationId xmlns:a16="http://schemas.microsoft.com/office/drawing/2014/main" id="{563B5790-9E6A-4CBC-A0BD-F323B57B983B}"/>
                </a:ext>
              </a:extLst>
            </p:cNvPr>
            <p:cNvSpPr txBox="1"/>
            <p:nvPr/>
          </p:nvSpPr>
          <p:spPr>
            <a:xfrm>
              <a:off x="7543799" y="5465929"/>
              <a:ext cx="4286251" cy="646331"/>
            </a:xfrm>
            <a:prstGeom prst="rect">
              <a:avLst/>
            </a:prstGeom>
            <a:noFill/>
          </p:spPr>
          <p:txBody>
            <a:bodyPr wrap="square" rtlCol="0">
              <a:spAutoFit/>
            </a:bodyPr>
            <a:lstStyle/>
            <a:p>
              <a:r>
                <a:rPr lang="es-ES" dirty="0">
                  <a:solidFill>
                    <a:srgbClr val="4D4D4D"/>
                  </a:solidFill>
                </a:rPr>
                <a:t>Cambio de tendencia actual en las emisiones de CO2 en España</a:t>
              </a:r>
            </a:p>
          </p:txBody>
        </p:sp>
        <p:pic>
          <p:nvPicPr>
            <p:cNvPr id="10" name="Graphic 9" descr="Downward trend graph with solid fill">
              <a:extLst>
                <a:ext uri="{FF2B5EF4-FFF2-40B4-BE49-F238E27FC236}">
                  <a16:creationId xmlns:a16="http://schemas.microsoft.com/office/drawing/2014/main" id="{C4CFDF04-D7B7-4F6C-99C1-0169F1A4689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72200" y="5331894"/>
              <a:ext cx="914400" cy="914400"/>
            </a:xfrm>
            <a:prstGeom prst="rect">
              <a:avLst/>
            </a:prstGeom>
            <a:effectLst>
              <a:outerShdw blurRad="50800" dist="38100" dir="5400000" algn="t" rotWithShape="0">
                <a:schemeClr val="bg1">
                  <a:lumMod val="50000"/>
                  <a:alpha val="40000"/>
                </a:schemeClr>
              </a:outerShdw>
            </a:effectLst>
          </p:spPr>
        </p:pic>
      </p:grpSp>
      <p:grpSp>
        <p:nvGrpSpPr>
          <p:cNvPr id="6" name="Group 5">
            <a:extLst>
              <a:ext uri="{FF2B5EF4-FFF2-40B4-BE49-F238E27FC236}">
                <a16:creationId xmlns:a16="http://schemas.microsoft.com/office/drawing/2014/main" id="{D0688A24-9278-4EF8-88BF-2215FF2E9A4E}"/>
              </a:ext>
            </a:extLst>
          </p:cNvPr>
          <p:cNvGrpSpPr/>
          <p:nvPr/>
        </p:nvGrpSpPr>
        <p:grpSpPr>
          <a:xfrm>
            <a:off x="6472200" y="952500"/>
            <a:ext cx="5357850" cy="923330"/>
            <a:chOff x="6472200" y="952500"/>
            <a:chExt cx="5357850" cy="923330"/>
          </a:xfrm>
        </p:grpSpPr>
        <p:sp>
          <p:nvSpPr>
            <p:cNvPr id="13" name="TextBox 12">
              <a:extLst>
                <a:ext uri="{FF2B5EF4-FFF2-40B4-BE49-F238E27FC236}">
                  <a16:creationId xmlns:a16="http://schemas.microsoft.com/office/drawing/2014/main" id="{2DF322AA-6E14-43CA-B63C-5C52639F712E}"/>
                </a:ext>
              </a:extLst>
            </p:cNvPr>
            <p:cNvSpPr txBox="1"/>
            <p:nvPr/>
          </p:nvSpPr>
          <p:spPr>
            <a:xfrm>
              <a:off x="7543799" y="952500"/>
              <a:ext cx="4286251" cy="923330"/>
            </a:xfrm>
            <a:prstGeom prst="rect">
              <a:avLst/>
            </a:prstGeom>
            <a:noFill/>
          </p:spPr>
          <p:txBody>
            <a:bodyPr wrap="square" rtlCol="0">
              <a:spAutoFit/>
            </a:bodyPr>
            <a:lstStyle/>
            <a:p>
              <a:r>
                <a:rPr lang="es-ES" dirty="0">
                  <a:solidFill>
                    <a:srgbClr val="4D4D4D"/>
                  </a:solidFill>
                </a:rPr>
                <a:t>La calificación energética que predomina en España es la G, es decir la calificación más desfavorable</a:t>
              </a:r>
            </a:p>
          </p:txBody>
        </p:sp>
        <p:pic>
          <p:nvPicPr>
            <p:cNvPr id="17" name="Graphic 16" descr="Earth globe: Africa and Europe with solid fill">
              <a:extLst>
                <a:ext uri="{FF2B5EF4-FFF2-40B4-BE49-F238E27FC236}">
                  <a16:creationId xmlns:a16="http://schemas.microsoft.com/office/drawing/2014/main" id="{1176599E-4BCE-4AD2-A6C7-97ADD61E757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72200" y="956965"/>
              <a:ext cx="914400" cy="914400"/>
            </a:xfrm>
            <a:prstGeom prst="rect">
              <a:avLst/>
            </a:prstGeom>
            <a:effectLst>
              <a:outerShdw blurRad="50800" dist="38100" dir="5400000" algn="t" rotWithShape="0">
                <a:schemeClr val="bg1">
                  <a:lumMod val="50000"/>
                  <a:alpha val="40000"/>
                </a:schemeClr>
              </a:outerShdw>
            </a:effectLst>
          </p:spPr>
        </p:pic>
      </p:grpSp>
    </p:spTree>
    <p:extLst>
      <p:ext uri="{BB962C8B-B14F-4D97-AF65-F5344CB8AC3E}">
        <p14:creationId xmlns:p14="http://schemas.microsoft.com/office/powerpoint/2010/main" val="2977888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28935C9-D1C3-4B2F-8F7D-A847ECAA1D1E}"/>
              </a:ext>
            </a:extLst>
          </p:cNvPr>
          <p:cNvGraphicFramePr>
            <a:graphicFrameLocks noChangeAspect="1"/>
          </p:cNvGraphicFramePr>
          <p:nvPr>
            <p:custDataLst>
              <p:tags r:id="rId1"/>
            </p:custDataLst>
            <p:extLst>
              <p:ext uri="{D42A27DB-BD31-4B8C-83A1-F6EECF244321}">
                <p14:modId xmlns:p14="http://schemas.microsoft.com/office/powerpoint/2010/main" val="78403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A28935C9-D1C3-4B2F-8F7D-A847ECAA1D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6E1622-3669-4736-9A15-5D63A1AC7C47}"/>
              </a:ext>
            </a:extLst>
          </p:cNvPr>
          <p:cNvSpPr/>
          <p:nvPr/>
        </p:nvSpPr>
        <p:spPr>
          <a:xfrm>
            <a:off x="0" y="-1"/>
            <a:ext cx="12192000" cy="6886575"/>
          </a:xfrm>
          <a:prstGeom prst="rect">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TextBox 5">
            <a:extLst>
              <a:ext uri="{FF2B5EF4-FFF2-40B4-BE49-F238E27FC236}">
                <a16:creationId xmlns:a16="http://schemas.microsoft.com/office/drawing/2014/main" id="{A7329A39-784C-4CFB-9768-DCC0EF152B72}"/>
              </a:ext>
            </a:extLst>
          </p:cNvPr>
          <p:cNvSpPr txBox="1"/>
          <p:nvPr/>
        </p:nvSpPr>
        <p:spPr>
          <a:xfrm>
            <a:off x="3367088" y="2875002"/>
            <a:ext cx="5457825" cy="1107996"/>
          </a:xfrm>
          <a:prstGeom prst="rect">
            <a:avLst/>
          </a:prstGeom>
          <a:noFill/>
        </p:spPr>
        <p:txBody>
          <a:bodyPr wrap="square" rtlCol="0" anchor="ctr">
            <a:spAutoFit/>
          </a:bodyPr>
          <a:lstStyle/>
          <a:p>
            <a:pPr algn="ctr"/>
            <a:r>
              <a:rPr lang="es-ES" sz="6600" spc="300" dirty="0">
                <a:solidFill>
                  <a:schemeClr val="bg1"/>
                </a:solidFill>
              </a:rPr>
              <a:t>FIN</a:t>
            </a:r>
          </a:p>
        </p:txBody>
      </p:sp>
    </p:spTree>
    <p:extLst>
      <p:ext uri="{BB962C8B-B14F-4D97-AF65-F5344CB8AC3E}">
        <p14:creationId xmlns:p14="http://schemas.microsoft.com/office/powerpoint/2010/main" val="28656389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B7702A2-23EC-49F7-978C-F8CBF98DDBDA}"/>
              </a:ext>
            </a:extLst>
          </p:cNvPr>
          <p:cNvGraphicFramePr>
            <a:graphicFrameLocks noChangeAspect="1"/>
          </p:cNvGraphicFramePr>
          <p:nvPr>
            <p:custDataLst>
              <p:tags r:id="rId1"/>
            </p:custDataLst>
            <p:extLst>
              <p:ext uri="{D42A27DB-BD31-4B8C-83A1-F6EECF244321}">
                <p14:modId xmlns:p14="http://schemas.microsoft.com/office/powerpoint/2010/main" val="2841790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B7702A2-23EC-49F7-978C-F8CBF98DDB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4" name="Title 53">
            <a:extLst>
              <a:ext uri="{FF2B5EF4-FFF2-40B4-BE49-F238E27FC236}">
                <a16:creationId xmlns:a16="http://schemas.microsoft.com/office/drawing/2014/main" id="{742A82AB-F005-49A7-9C16-0AF17C1E992A}"/>
              </a:ext>
            </a:extLst>
          </p:cNvPr>
          <p:cNvSpPr>
            <a:spLocks noGrp="1"/>
          </p:cNvSpPr>
          <p:nvPr>
            <p:ph type="title"/>
          </p:nvPr>
        </p:nvSpPr>
        <p:spPr>
          <a:xfrm>
            <a:off x="476655" y="336958"/>
            <a:ext cx="11105745" cy="1700784"/>
          </a:xfrm>
        </p:spPr>
        <p:txBody>
          <a:bodyPr vert="horz"/>
          <a:lstStyle/>
          <a:p>
            <a:r>
              <a:rPr lang="en-US" cap="none" dirty="0">
                <a:solidFill>
                  <a:srgbClr val="4D4D4D"/>
                </a:solidFill>
              </a:rPr>
              <a:t>ÍNDICE</a:t>
            </a:r>
          </a:p>
        </p:txBody>
      </p:sp>
      <p:sp>
        <p:nvSpPr>
          <p:cNvPr id="7" name="Footer Placeholder 8">
            <a:extLst>
              <a:ext uri="{FF2B5EF4-FFF2-40B4-BE49-F238E27FC236}">
                <a16:creationId xmlns:a16="http://schemas.microsoft.com/office/drawing/2014/main" id="{EA683B60-B65C-41B7-A2DD-F978D1E9EAC1}"/>
              </a:ext>
            </a:extLst>
          </p:cNvPr>
          <p:cNvSpPr>
            <a:spLocks noGrp="1"/>
          </p:cNvSpPr>
          <p:nvPr>
            <p:ph type="ftr" sz="quarter" idx="11"/>
          </p:nvPr>
        </p:nvSpPr>
        <p:spPr>
          <a:xfrm>
            <a:off x="960121" y="6356350"/>
            <a:ext cx="3353262" cy="365125"/>
          </a:xfrm>
        </p:spPr>
        <p:txBody>
          <a:bodyPr/>
          <a:lstStyle/>
          <a:p>
            <a:r>
              <a:rPr lang="en-US" dirty="0"/>
              <a:t>Sample Footer Text</a:t>
            </a:r>
          </a:p>
        </p:txBody>
      </p:sp>
      <p:sp>
        <p:nvSpPr>
          <p:cNvPr id="8" name="Slide Number Placeholder 9">
            <a:extLst>
              <a:ext uri="{FF2B5EF4-FFF2-40B4-BE49-F238E27FC236}">
                <a16:creationId xmlns:a16="http://schemas.microsoft.com/office/drawing/2014/main" id="{E50D8CA2-FDF5-4FB0-A313-B120969EA663}"/>
              </a:ext>
            </a:extLst>
          </p:cNvPr>
          <p:cNvSpPr>
            <a:spLocks noGrp="1"/>
          </p:cNvSpPr>
          <p:nvPr>
            <p:ph type="sldNum" sz="quarter" idx="12"/>
          </p:nvPr>
        </p:nvSpPr>
        <p:spPr>
          <a:xfrm>
            <a:off x="0" y="6356350"/>
            <a:ext cx="932688" cy="365125"/>
          </a:xfrm>
        </p:spPr>
        <p:txBody>
          <a:bodyPr/>
          <a:lstStyle/>
          <a:p>
            <a:fld id="{F97E8200-1950-409B-82E7-99938E7AE355}" type="slidenum">
              <a:rPr lang="en-US" smtClean="0"/>
              <a:pPr/>
              <a:t>2</a:t>
            </a:fld>
            <a:endParaRPr lang="en-US" dirty="0"/>
          </a:p>
        </p:txBody>
      </p:sp>
      <p:pic>
        <p:nvPicPr>
          <p:cNvPr id="9" name="Picture 8" descr="A picture containing grass, sky, outdoor, mountain&#10;&#10;Description automatically generated">
            <a:extLst>
              <a:ext uri="{FF2B5EF4-FFF2-40B4-BE49-F238E27FC236}">
                <a16:creationId xmlns:a16="http://schemas.microsoft.com/office/drawing/2014/main" id="{3B98A433-B9AA-404D-A956-C5AF0DC244D8}"/>
              </a:ext>
            </a:extLst>
          </p:cNvPr>
          <p:cNvPicPr>
            <a:picLocks noChangeAspect="1"/>
          </p:cNvPicPr>
          <p:nvPr/>
        </p:nvPicPr>
        <p:blipFill>
          <a:blip r:embed="rId5"/>
          <a:stretch>
            <a:fillRect/>
          </a:stretch>
        </p:blipFill>
        <p:spPr>
          <a:xfrm>
            <a:off x="6265068" y="2265363"/>
            <a:ext cx="5926932" cy="3951288"/>
          </a:xfrm>
          <a:prstGeom prst="rect">
            <a:avLst/>
          </a:prstGeom>
        </p:spPr>
      </p:pic>
      <p:sp>
        <p:nvSpPr>
          <p:cNvPr id="12" name="Rectangle 11">
            <a:extLst>
              <a:ext uri="{FF2B5EF4-FFF2-40B4-BE49-F238E27FC236}">
                <a16:creationId xmlns:a16="http://schemas.microsoft.com/office/drawing/2014/main" id="{19328D16-F5C2-4C9D-9615-EA391EE5E675}"/>
              </a:ext>
            </a:extLst>
          </p:cNvPr>
          <p:cNvSpPr/>
          <p:nvPr/>
        </p:nvSpPr>
        <p:spPr>
          <a:xfrm>
            <a:off x="5126477" y="2265363"/>
            <a:ext cx="1138591" cy="3951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9" name="Content Placeholder 28">
            <a:extLst>
              <a:ext uri="{FF2B5EF4-FFF2-40B4-BE49-F238E27FC236}">
                <a16:creationId xmlns:a16="http://schemas.microsoft.com/office/drawing/2014/main" id="{72142BC0-18E5-42CE-A02F-AC348DDCE465}"/>
              </a:ext>
            </a:extLst>
          </p:cNvPr>
          <p:cNvSpPr>
            <a:spLocks noGrp="1"/>
          </p:cNvSpPr>
          <p:nvPr>
            <p:ph idx="1"/>
          </p:nvPr>
        </p:nvSpPr>
        <p:spPr>
          <a:xfrm>
            <a:off x="476654" y="2587752"/>
            <a:ext cx="5788413" cy="3258102"/>
          </a:xfrm>
        </p:spPr>
        <p:txBody>
          <a:bodyPr anchor="ctr"/>
          <a:lstStyle/>
          <a:p>
            <a:pPr marL="514350" indent="-514350">
              <a:spcBef>
                <a:spcPts val="200"/>
              </a:spcBef>
              <a:spcAft>
                <a:spcPts val="200"/>
              </a:spcAft>
              <a:buFont typeface="+mj-lt"/>
              <a:buAutoNum type="arabicPeriod"/>
            </a:pPr>
            <a:r>
              <a:rPr lang="es-ES" dirty="0"/>
              <a:t>Objetivos y Metodología</a:t>
            </a:r>
          </a:p>
          <a:p>
            <a:pPr marL="514350" indent="-514350">
              <a:spcBef>
                <a:spcPts val="200"/>
              </a:spcBef>
              <a:spcAft>
                <a:spcPts val="200"/>
              </a:spcAft>
              <a:buFont typeface="+mj-lt"/>
              <a:buAutoNum type="arabicPeriod"/>
            </a:pPr>
            <a:r>
              <a:rPr lang="es-ES" dirty="0"/>
              <a:t>Contexto y Procesado del Dataset</a:t>
            </a:r>
          </a:p>
          <a:p>
            <a:pPr marL="514350" indent="-514350">
              <a:spcBef>
                <a:spcPts val="200"/>
              </a:spcBef>
              <a:spcAft>
                <a:spcPts val="200"/>
              </a:spcAft>
              <a:buFont typeface="+mj-lt"/>
              <a:buAutoNum type="arabicPeriod"/>
            </a:pPr>
            <a:r>
              <a:rPr lang="es-ES" dirty="0"/>
              <a:t>Análisis Visual; PowerBI</a:t>
            </a:r>
          </a:p>
          <a:p>
            <a:pPr marL="514350" indent="-514350">
              <a:spcBef>
                <a:spcPts val="200"/>
              </a:spcBef>
              <a:spcAft>
                <a:spcPts val="200"/>
              </a:spcAft>
              <a:buFont typeface="+mj-lt"/>
              <a:buAutoNum type="arabicPeriod"/>
            </a:pPr>
            <a:r>
              <a:rPr lang="es-ES" dirty="0"/>
              <a:t>Modelo de regresión; Python</a:t>
            </a:r>
          </a:p>
          <a:p>
            <a:pPr marL="514350" indent="-514350">
              <a:spcBef>
                <a:spcPts val="200"/>
              </a:spcBef>
              <a:spcAft>
                <a:spcPts val="200"/>
              </a:spcAft>
              <a:buFont typeface="+mj-lt"/>
              <a:buAutoNum type="arabicPeriod"/>
            </a:pPr>
            <a:r>
              <a:rPr lang="es-ES" dirty="0"/>
              <a:t>Conclusiones</a:t>
            </a:r>
          </a:p>
        </p:txBody>
      </p:sp>
    </p:spTree>
    <p:extLst>
      <p:ext uri="{BB962C8B-B14F-4D97-AF65-F5344CB8AC3E}">
        <p14:creationId xmlns:p14="http://schemas.microsoft.com/office/powerpoint/2010/main" val="21137511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1E33D7-5EE7-4E43-95B4-F82EFB01A7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51E33D7-5EE7-4E43-95B4-F82EFB01A7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51A6D85-3837-435F-A342-5A3F98172B12}"/>
              </a:ext>
            </a:extLst>
          </p:cNvPr>
          <p:cNvSpPr>
            <a:spLocks noGrp="1"/>
          </p:cNvSpPr>
          <p:nvPr>
            <p:ph type="body" idx="1"/>
          </p:nvPr>
        </p:nvSpPr>
        <p:spPr>
          <a:xfrm>
            <a:off x="960120" y="4544568"/>
            <a:ext cx="10268712" cy="1545336"/>
          </a:xfrm>
        </p:spPr>
        <p:txBody>
          <a:bodyPr/>
          <a:lstStyle/>
          <a:p>
            <a:pPr algn="r"/>
            <a:r>
              <a:rPr lang="en-US" dirty="0" err="1">
                <a:solidFill>
                  <a:srgbClr val="4D4D4D"/>
                </a:solidFill>
              </a:rPr>
              <a:t>Objetivos</a:t>
            </a:r>
            <a:r>
              <a:rPr lang="en-US" dirty="0">
                <a:solidFill>
                  <a:srgbClr val="4D4D4D"/>
                </a:solidFill>
              </a:rPr>
              <a:t> y </a:t>
            </a:r>
            <a:r>
              <a:rPr lang="en-US" dirty="0" err="1">
                <a:solidFill>
                  <a:srgbClr val="4D4D4D"/>
                </a:solidFill>
              </a:rPr>
              <a:t>Metodología</a:t>
            </a:r>
            <a:endParaRPr lang="en-US" dirty="0">
              <a:solidFill>
                <a:srgbClr val="4D4D4D"/>
              </a:solidFill>
            </a:endParaRPr>
          </a:p>
        </p:txBody>
      </p:sp>
      <p:sp>
        <p:nvSpPr>
          <p:cNvPr id="6" name="Title 5">
            <a:extLst>
              <a:ext uri="{FF2B5EF4-FFF2-40B4-BE49-F238E27FC236}">
                <a16:creationId xmlns:a16="http://schemas.microsoft.com/office/drawing/2014/main" id="{CCC7D267-DCEC-4B85-81EC-31ABD1F5384C}"/>
              </a:ext>
            </a:extLst>
          </p:cNvPr>
          <p:cNvSpPr>
            <a:spLocks noGrp="1"/>
          </p:cNvSpPr>
          <p:nvPr>
            <p:ph type="title"/>
          </p:nvPr>
        </p:nvSpPr>
        <p:spPr/>
        <p:txBody>
          <a:bodyPr/>
          <a:lstStyle/>
          <a:p>
            <a:endParaRPr lang="es-ES" dirty="0"/>
          </a:p>
        </p:txBody>
      </p:sp>
      <p:pic>
        <p:nvPicPr>
          <p:cNvPr id="9" name="Picture 8">
            <a:extLst>
              <a:ext uri="{FF2B5EF4-FFF2-40B4-BE49-F238E27FC236}">
                <a16:creationId xmlns:a16="http://schemas.microsoft.com/office/drawing/2014/main" id="{B3047CD5-45E2-4A61-B875-0F27AA5FF626}"/>
              </a:ext>
            </a:extLst>
          </p:cNvPr>
          <p:cNvPicPr>
            <a:picLocks noChangeAspect="1"/>
          </p:cNvPicPr>
          <p:nvPr/>
        </p:nvPicPr>
        <p:blipFill rotWithShape="1">
          <a:blip r:embed="rId5"/>
          <a:srcRect t="17610" b="30227"/>
          <a:stretch/>
        </p:blipFill>
        <p:spPr>
          <a:xfrm>
            <a:off x="-1" y="0"/>
            <a:ext cx="12184305" cy="4248150"/>
          </a:xfrm>
          <a:prstGeom prst="rect">
            <a:avLst/>
          </a:prstGeom>
        </p:spPr>
      </p:pic>
    </p:spTree>
    <p:extLst>
      <p:ext uri="{BB962C8B-B14F-4D97-AF65-F5344CB8AC3E}">
        <p14:creationId xmlns:p14="http://schemas.microsoft.com/office/powerpoint/2010/main" val="15120382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58D089-3C8A-4DB5-B385-1D8F29891C43}"/>
              </a:ext>
            </a:extLst>
          </p:cNvPr>
          <p:cNvGraphicFramePr>
            <a:graphicFrameLocks noChangeAspect="1"/>
          </p:cNvGraphicFramePr>
          <p:nvPr>
            <p:custDataLst>
              <p:tags r:id="rId1"/>
            </p:custDataLst>
            <p:extLst>
              <p:ext uri="{D42A27DB-BD31-4B8C-83A1-F6EECF244321}">
                <p14:modId xmlns:p14="http://schemas.microsoft.com/office/powerpoint/2010/main" val="3789462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Object 11" hidden="1">
                        <a:extLst>
                          <a:ext uri="{FF2B5EF4-FFF2-40B4-BE49-F238E27FC236}">
                            <a16:creationId xmlns:a16="http://schemas.microsoft.com/office/drawing/2014/main" id="{F658D089-3C8A-4DB5-B385-1D8F29891C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D6B1B9-77FC-433D-9851-1201CFDA3270}"/>
              </a:ext>
            </a:extLst>
          </p:cNvPr>
          <p:cNvSpPr>
            <a:spLocks noGrp="1"/>
          </p:cNvSpPr>
          <p:nvPr>
            <p:ph type="title"/>
          </p:nvPr>
        </p:nvSpPr>
        <p:spPr>
          <a:xfrm>
            <a:off x="960120" y="317814"/>
            <a:ext cx="10268712" cy="1700784"/>
          </a:xfrm>
        </p:spPr>
        <p:txBody>
          <a:bodyPr vert="horz"/>
          <a:lstStyle/>
          <a:p>
            <a:r>
              <a:rPr lang="es-ES" cap="none" dirty="0"/>
              <a:t>Objetivos</a:t>
            </a:r>
            <a:endParaRPr lang="es-ES" dirty="0"/>
          </a:p>
        </p:txBody>
      </p:sp>
      <p:sp>
        <p:nvSpPr>
          <p:cNvPr id="11" name="Slide Number Placeholder 9">
            <a:extLst>
              <a:ext uri="{FF2B5EF4-FFF2-40B4-BE49-F238E27FC236}">
                <a16:creationId xmlns:a16="http://schemas.microsoft.com/office/drawing/2014/main" id="{1AEC9149-F5C3-45FA-B09D-CF6B7D2456CD}"/>
              </a:ext>
            </a:extLst>
          </p:cNvPr>
          <p:cNvSpPr>
            <a:spLocks noGrp="1"/>
          </p:cNvSpPr>
          <p:nvPr>
            <p:ph type="sldNum" sz="quarter" idx="12"/>
          </p:nvPr>
        </p:nvSpPr>
        <p:spPr>
          <a:xfrm>
            <a:off x="0" y="6356350"/>
            <a:ext cx="932688" cy="365125"/>
          </a:xfrm>
        </p:spPr>
        <p:txBody>
          <a:bodyPr/>
          <a:lstStyle/>
          <a:p>
            <a:fld id="{F97E8200-1950-409B-82E7-99938E7AE355}" type="slidenum">
              <a:rPr lang="en-US" smtClean="0"/>
              <a:pPr/>
              <a:t>4</a:t>
            </a:fld>
            <a:endParaRPr lang="en-US" dirty="0"/>
          </a:p>
        </p:txBody>
      </p:sp>
      <p:sp>
        <p:nvSpPr>
          <p:cNvPr id="13" name="TextBox 12">
            <a:extLst>
              <a:ext uri="{FF2B5EF4-FFF2-40B4-BE49-F238E27FC236}">
                <a16:creationId xmlns:a16="http://schemas.microsoft.com/office/drawing/2014/main" id="{92C31382-3C96-4DA2-86B0-4AD20D921CAF}"/>
              </a:ext>
            </a:extLst>
          </p:cNvPr>
          <p:cNvSpPr txBox="1"/>
          <p:nvPr/>
        </p:nvSpPr>
        <p:spPr>
          <a:xfrm>
            <a:off x="2109216" y="2914533"/>
            <a:ext cx="9546336" cy="369332"/>
          </a:xfrm>
          <a:prstGeom prst="rect">
            <a:avLst/>
          </a:prstGeom>
          <a:noFill/>
        </p:spPr>
        <p:txBody>
          <a:bodyPr wrap="square" rtlCol="0">
            <a:spAutoFit/>
          </a:bodyPr>
          <a:lstStyle/>
          <a:p>
            <a:r>
              <a:rPr lang="es-ES" b="1" dirty="0">
                <a:solidFill>
                  <a:srgbClr val="4AB5C4"/>
                </a:solidFill>
              </a:rPr>
              <a:t>Exploración</a:t>
            </a:r>
            <a:r>
              <a:rPr lang="es-ES" dirty="0">
                <a:solidFill>
                  <a:srgbClr val="4D4D4D"/>
                </a:solidFill>
              </a:rPr>
              <a:t> de las variables del dataset y </a:t>
            </a:r>
            <a:r>
              <a:rPr lang="es-ES" b="1" dirty="0">
                <a:solidFill>
                  <a:srgbClr val="4AB5C4"/>
                </a:solidFill>
              </a:rPr>
              <a:t>análisis</a:t>
            </a:r>
            <a:r>
              <a:rPr lang="es-ES" dirty="0">
                <a:solidFill>
                  <a:srgbClr val="4D4D4D"/>
                </a:solidFill>
              </a:rPr>
              <a:t> de sus variables numéricas y categóricas</a:t>
            </a:r>
          </a:p>
        </p:txBody>
      </p:sp>
      <p:pic>
        <p:nvPicPr>
          <p:cNvPr id="15" name="Graphic 14" descr="Illustrator with solid fill">
            <a:extLst>
              <a:ext uri="{FF2B5EF4-FFF2-40B4-BE49-F238E27FC236}">
                <a16:creationId xmlns:a16="http://schemas.microsoft.com/office/drawing/2014/main" id="{8215E2CF-C03D-41E5-A6A5-882358836D9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0120" y="2641999"/>
            <a:ext cx="914400" cy="914400"/>
          </a:xfrm>
          <a:prstGeom prst="rect">
            <a:avLst/>
          </a:prstGeom>
          <a:effectLst>
            <a:outerShdw blurRad="50800" dist="38100" dir="5400000" algn="t" rotWithShape="0">
              <a:schemeClr val="bg1">
                <a:lumMod val="85000"/>
                <a:alpha val="40000"/>
              </a:schemeClr>
            </a:outerShdw>
          </a:effectLst>
        </p:spPr>
      </p:pic>
      <p:pic>
        <p:nvPicPr>
          <p:cNvPr id="17" name="Graphic 16" descr="Idea with solid fill">
            <a:extLst>
              <a:ext uri="{FF2B5EF4-FFF2-40B4-BE49-F238E27FC236}">
                <a16:creationId xmlns:a16="http://schemas.microsoft.com/office/drawing/2014/main" id="{FF67EB1B-648F-4728-A00A-02A45783CC5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0120" y="3894296"/>
            <a:ext cx="914400" cy="914400"/>
          </a:xfrm>
          <a:prstGeom prst="rect">
            <a:avLst/>
          </a:prstGeom>
          <a:effectLst>
            <a:outerShdw blurRad="50800" dist="38100" dir="5400000" algn="t" rotWithShape="0">
              <a:schemeClr val="bg1">
                <a:lumMod val="85000"/>
                <a:alpha val="40000"/>
              </a:schemeClr>
            </a:outerShdw>
          </a:effectLst>
        </p:spPr>
      </p:pic>
      <p:sp>
        <p:nvSpPr>
          <p:cNvPr id="21" name="TextBox 20">
            <a:extLst>
              <a:ext uri="{FF2B5EF4-FFF2-40B4-BE49-F238E27FC236}">
                <a16:creationId xmlns:a16="http://schemas.microsoft.com/office/drawing/2014/main" id="{37943C0D-B6B5-472E-9022-D7D6E4B25F62}"/>
              </a:ext>
            </a:extLst>
          </p:cNvPr>
          <p:cNvSpPr txBox="1"/>
          <p:nvPr/>
        </p:nvSpPr>
        <p:spPr>
          <a:xfrm>
            <a:off x="2109216" y="4028331"/>
            <a:ext cx="9119616" cy="646331"/>
          </a:xfrm>
          <a:prstGeom prst="rect">
            <a:avLst/>
          </a:prstGeom>
          <a:noFill/>
        </p:spPr>
        <p:txBody>
          <a:bodyPr wrap="square">
            <a:spAutoFit/>
          </a:bodyPr>
          <a:lstStyle/>
          <a:p>
            <a:r>
              <a:rPr lang="es-ES" b="1" dirty="0">
                <a:solidFill>
                  <a:srgbClr val="4AB5C4"/>
                </a:solidFill>
              </a:rPr>
              <a:t>Construcción de un modelo </a:t>
            </a:r>
            <a:r>
              <a:rPr lang="es-ES" dirty="0">
                <a:solidFill>
                  <a:srgbClr val="4D4D4D"/>
                </a:solidFill>
              </a:rPr>
              <a:t>de machine learning mediante la base de datos para predecir las </a:t>
            </a:r>
            <a:r>
              <a:rPr lang="es-ES" b="1" dirty="0">
                <a:solidFill>
                  <a:srgbClr val="4AB5C4"/>
                </a:solidFill>
              </a:rPr>
              <a:t>emisiones de CO2</a:t>
            </a:r>
            <a:r>
              <a:rPr lang="es-ES" dirty="0">
                <a:solidFill>
                  <a:srgbClr val="4D4D4D"/>
                </a:solidFill>
              </a:rPr>
              <a:t> de una vivienda en función de unas características determinadas</a:t>
            </a:r>
          </a:p>
        </p:txBody>
      </p:sp>
      <p:pic>
        <p:nvPicPr>
          <p:cNvPr id="19" name="Graphic 18" descr="Magnifying glass with solid fill">
            <a:extLst>
              <a:ext uri="{FF2B5EF4-FFF2-40B4-BE49-F238E27FC236}">
                <a16:creationId xmlns:a16="http://schemas.microsoft.com/office/drawing/2014/main" id="{1ADE9E3A-14BF-44D6-9FCC-CE0336CCCC9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0120" y="5146594"/>
            <a:ext cx="914400" cy="914400"/>
          </a:xfrm>
          <a:prstGeom prst="rect">
            <a:avLst/>
          </a:prstGeom>
          <a:effectLst>
            <a:outerShdw blurRad="50800" dist="38100" dir="5400000" algn="t" rotWithShape="0">
              <a:schemeClr val="bg1">
                <a:lumMod val="85000"/>
                <a:alpha val="40000"/>
              </a:schemeClr>
            </a:outerShdw>
          </a:effectLst>
        </p:spPr>
      </p:pic>
      <p:sp>
        <p:nvSpPr>
          <p:cNvPr id="23" name="TextBox 22">
            <a:extLst>
              <a:ext uri="{FF2B5EF4-FFF2-40B4-BE49-F238E27FC236}">
                <a16:creationId xmlns:a16="http://schemas.microsoft.com/office/drawing/2014/main" id="{EA95F69A-989A-4295-BC1F-1EF2653E90DF}"/>
              </a:ext>
            </a:extLst>
          </p:cNvPr>
          <p:cNvSpPr txBox="1"/>
          <p:nvPr/>
        </p:nvSpPr>
        <p:spPr>
          <a:xfrm>
            <a:off x="2109216" y="5419128"/>
            <a:ext cx="9119616" cy="369332"/>
          </a:xfrm>
          <a:prstGeom prst="rect">
            <a:avLst/>
          </a:prstGeom>
          <a:noFill/>
        </p:spPr>
        <p:txBody>
          <a:bodyPr wrap="square">
            <a:spAutoFit/>
          </a:bodyPr>
          <a:lstStyle/>
          <a:p>
            <a:r>
              <a:rPr lang="es-ES" b="1" dirty="0">
                <a:solidFill>
                  <a:srgbClr val="4AB5C4"/>
                </a:solidFill>
              </a:rPr>
              <a:t>Análisis visual </a:t>
            </a:r>
            <a:r>
              <a:rPr lang="es-ES" dirty="0">
                <a:solidFill>
                  <a:srgbClr val="4D4D4D"/>
                </a:solidFill>
              </a:rPr>
              <a:t>de los resultados y extracción de conclusiones relevantes</a:t>
            </a:r>
          </a:p>
        </p:txBody>
      </p:sp>
    </p:spTree>
    <p:extLst>
      <p:ext uri="{BB962C8B-B14F-4D97-AF65-F5344CB8AC3E}">
        <p14:creationId xmlns:p14="http://schemas.microsoft.com/office/powerpoint/2010/main" val="19443759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58D089-3C8A-4DB5-B385-1D8F29891C43}"/>
              </a:ext>
            </a:extLst>
          </p:cNvPr>
          <p:cNvGraphicFramePr>
            <a:graphicFrameLocks noChangeAspect="1"/>
          </p:cNvGraphicFramePr>
          <p:nvPr>
            <p:custDataLst>
              <p:tags r:id="rId1"/>
            </p:custDataLst>
            <p:extLst>
              <p:ext uri="{D42A27DB-BD31-4B8C-83A1-F6EECF244321}">
                <p14:modId xmlns:p14="http://schemas.microsoft.com/office/powerpoint/2010/main" val="471132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2" name="Object 11" hidden="1">
                        <a:extLst>
                          <a:ext uri="{FF2B5EF4-FFF2-40B4-BE49-F238E27FC236}">
                            <a16:creationId xmlns:a16="http://schemas.microsoft.com/office/drawing/2014/main" id="{F658D089-3C8A-4DB5-B385-1D8F29891C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F6A28C6E-F31C-4B0A-B748-C5B6DC2A8714}"/>
              </a:ext>
            </a:extLst>
          </p:cNvPr>
          <p:cNvSpPr/>
          <p:nvPr/>
        </p:nvSpPr>
        <p:spPr>
          <a:xfrm>
            <a:off x="466344" y="2513474"/>
            <a:ext cx="5499558" cy="3619697"/>
          </a:xfrm>
          <a:prstGeom prst="rect">
            <a:avLst/>
          </a:prstGeom>
          <a:solidFill>
            <a:schemeClr val="bg1">
              <a:lumMod val="95000"/>
            </a:schemeClr>
          </a:solidFill>
          <a:ln>
            <a:noFill/>
          </a:ln>
          <a:effectLst>
            <a:outerShdw blurRad="50800" dist="38100" dir="5400000" algn="t"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itle 1">
            <a:extLst>
              <a:ext uri="{FF2B5EF4-FFF2-40B4-BE49-F238E27FC236}">
                <a16:creationId xmlns:a16="http://schemas.microsoft.com/office/drawing/2014/main" id="{B8D6B1B9-77FC-433D-9851-1201CFDA3270}"/>
              </a:ext>
            </a:extLst>
          </p:cNvPr>
          <p:cNvSpPr>
            <a:spLocks noGrp="1"/>
          </p:cNvSpPr>
          <p:nvPr>
            <p:ph type="title"/>
          </p:nvPr>
        </p:nvSpPr>
        <p:spPr>
          <a:xfrm>
            <a:off x="466344" y="317814"/>
            <a:ext cx="10268712" cy="1700784"/>
          </a:xfrm>
        </p:spPr>
        <p:txBody>
          <a:bodyPr vert="horz"/>
          <a:lstStyle/>
          <a:p>
            <a:r>
              <a:rPr lang="es-ES" cap="none" dirty="0"/>
              <a:t>Metodología</a:t>
            </a:r>
            <a:endParaRPr lang="es-ES" dirty="0"/>
          </a:p>
        </p:txBody>
      </p:sp>
      <p:sp>
        <p:nvSpPr>
          <p:cNvPr id="11" name="Slide Number Placeholder 9">
            <a:extLst>
              <a:ext uri="{FF2B5EF4-FFF2-40B4-BE49-F238E27FC236}">
                <a16:creationId xmlns:a16="http://schemas.microsoft.com/office/drawing/2014/main" id="{1AEC9149-F5C3-45FA-B09D-CF6B7D2456CD}"/>
              </a:ext>
            </a:extLst>
          </p:cNvPr>
          <p:cNvSpPr>
            <a:spLocks noGrp="1"/>
          </p:cNvSpPr>
          <p:nvPr>
            <p:ph type="sldNum" sz="quarter" idx="12"/>
          </p:nvPr>
        </p:nvSpPr>
        <p:spPr>
          <a:xfrm>
            <a:off x="0" y="6356350"/>
            <a:ext cx="932688" cy="365125"/>
          </a:xfrm>
        </p:spPr>
        <p:txBody>
          <a:bodyPr/>
          <a:lstStyle/>
          <a:p>
            <a:fld id="{F97E8200-1950-409B-82E7-99938E7AE355}" type="slidenum">
              <a:rPr lang="en-US" smtClean="0"/>
              <a:pPr/>
              <a:t>5</a:t>
            </a:fld>
            <a:endParaRPr lang="en-US" dirty="0"/>
          </a:p>
        </p:txBody>
      </p:sp>
      <p:grpSp>
        <p:nvGrpSpPr>
          <p:cNvPr id="6" name="Group 5">
            <a:extLst>
              <a:ext uri="{FF2B5EF4-FFF2-40B4-BE49-F238E27FC236}">
                <a16:creationId xmlns:a16="http://schemas.microsoft.com/office/drawing/2014/main" id="{4ECA0716-84BD-4D23-8131-19F1D4F4E306}"/>
              </a:ext>
            </a:extLst>
          </p:cNvPr>
          <p:cNvGrpSpPr/>
          <p:nvPr/>
        </p:nvGrpSpPr>
        <p:grpSpPr>
          <a:xfrm>
            <a:off x="2150178" y="2843113"/>
            <a:ext cx="2131891" cy="1116000"/>
            <a:chOff x="466344" y="2513474"/>
            <a:chExt cx="2131891" cy="1116000"/>
          </a:xfrm>
        </p:grpSpPr>
        <p:pic>
          <p:nvPicPr>
            <p:cNvPr id="13" name="Picture 12" descr="Icon&#10;&#10;Description automatically generated with medium confidence">
              <a:extLst>
                <a:ext uri="{FF2B5EF4-FFF2-40B4-BE49-F238E27FC236}">
                  <a16:creationId xmlns:a16="http://schemas.microsoft.com/office/drawing/2014/main" id="{0AD81438-B921-41CF-92EF-99FDA4F7C315}"/>
                </a:ext>
              </a:extLst>
            </p:cNvPr>
            <p:cNvPicPr>
              <a:picLocks noChangeAspect="1"/>
            </p:cNvPicPr>
            <p:nvPr/>
          </p:nvPicPr>
          <p:blipFill>
            <a:blip r:embed="rId6">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466344" y="2513474"/>
              <a:ext cx="1116000" cy="1116000"/>
            </a:xfrm>
            <a:prstGeom prst="rect">
              <a:avLst/>
            </a:prstGeom>
          </p:spPr>
        </p:pic>
        <p:sp>
          <p:nvSpPr>
            <p:cNvPr id="3" name="TextBox 2">
              <a:extLst>
                <a:ext uri="{FF2B5EF4-FFF2-40B4-BE49-F238E27FC236}">
                  <a16:creationId xmlns:a16="http://schemas.microsoft.com/office/drawing/2014/main" id="{992942E6-345F-4FA9-AFF9-F5C184D028A8}"/>
                </a:ext>
              </a:extLst>
            </p:cNvPr>
            <p:cNvSpPr txBox="1"/>
            <p:nvPr/>
          </p:nvSpPr>
          <p:spPr>
            <a:xfrm>
              <a:off x="1582345" y="2854712"/>
              <a:ext cx="1015890" cy="369332"/>
            </a:xfrm>
            <a:prstGeom prst="rect">
              <a:avLst/>
            </a:prstGeom>
            <a:noFill/>
          </p:spPr>
          <p:txBody>
            <a:bodyPr wrap="square" rtlCol="0">
              <a:spAutoFit/>
            </a:bodyPr>
            <a:lstStyle/>
            <a:p>
              <a:r>
                <a:rPr lang="es-ES" dirty="0">
                  <a:solidFill>
                    <a:srgbClr val="4D4D4D"/>
                  </a:solidFill>
                </a:rPr>
                <a:t>Python</a:t>
              </a:r>
            </a:p>
          </p:txBody>
        </p:sp>
      </p:grpSp>
      <p:sp>
        <p:nvSpPr>
          <p:cNvPr id="16" name="TextBox 15">
            <a:extLst>
              <a:ext uri="{FF2B5EF4-FFF2-40B4-BE49-F238E27FC236}">
                <a16:creationId xmlns:a16="http://schemas.microsoft.com/office/drawing/2014/main" id="{8A7F1A16-8F00-4723-B43A-3BF30C5C5044}"/>
              </a:ext>
            </a:extLst>
          </p:cNvPr>
          <p:cNvSpPr txBox="1"/>
          <p:nvPr/>
        </p:nvSpPr>
        <p:spPr>
          <a:xfrm>
            <a:off x="702918" y="4375280"/>
            <a:ext cx="5026411" cy="923330"/>
          </a:xfrm>
          <a:prstGeom prst="rect">
            <a:avLst/>
          </a:prstGeom>
          <a:noFill/>
        </p:spPr>
        <p:txBody>
          <a:bodyPr wrap="square">
            <a:spAutoFit/>
          </a:bodyPr>
          <a:lstStyle/>
          <a:p>
            <a:pPr>
              <a:buClr>
                <a:srgbClr val="FFFF00"/>
              </a:buClr>
            </a:pPr>
            <a:r>
              <a:rPr lang="es-ES" dirty="0">
                <a:solidFill>
                  <a:srgbClr val="4D4D4D"/>
                </a:solidFill>
              </a:rPr>
              <a:t>Usando </a:t>
            </a:r>
            <a:r>
              <a:rPr lang="es-ES" b="1" dirty="0">
                <a:solidFill>
                  <a:srgbClr val="4AB5C4"/>
                </a:solidFill>
              </a:rPr>
              <a:t>Python</a:t>
            </a:r>
            <a:r>
              <a:rPr lang="es-ES" dirty="0">
                <a:solidFill>
                  <a:srgbClr val="4D4D4D"/>
                </a:solidFill>
              </a:rPr>
              <a:t> se limpian los datos y se preparan para crear un modelo de regresión, posteriormente se itera para mejorar el resultado</a:t>
            </a:r>
          </a:p>
        </p:txBody>
      </p:sp>
      <p:sp>
        <p:nvSpPr>
          <p:cNvPr id="20" name="Rectangle 19">
            <a:extLst>
              <a:ext uri="{FF2B5EF4-FFF2-40B4-BE49-F238E27FC236}">
                <a16:creationId xmlns:a16="http://schemas.microsoft.com/office/drawing/2014/main" id="{60A2CBEF-7EC4-4344-A61C-9A5D7813FC8B}"/>
              </a:ext>
            </a:extLst>
          </p:cNvPr>
          <p:cNvSpPr/>
          <p:nvPr/>
        </p:nvSpPr>
        <p:spPr>
          <a:xfrm>
            <a:off x="6226100" y="2513474"/>
            <a:ext cx="5499558" cy="3619697"/>
          </a:xfrm>
          <a:prstGeom prst="rect">
            <a:avLst/>
          </a:prstGeom>
          <a:solidFill>
            <a:schemeClr val="bg1">
              <a:lumMod val="95000"/>
            </a:schemeClr>
          </a:solidFill>
          <a:ln>
            <a:noFill/>
          </a:ln>
          <a:effectLst>
            <a:outerShdw blurRad="50800" dist="38100" dir="5400000" algn="t"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5" name="Rectangle 24">
            <a:extLst>
              <a:ext uri="{FF2B5EF4-FFF2-40B4-BE49-F238E27FC236}">
                <a16:creationId xmlns:a16="http://schemas.microsoft.com/office/drawing/2014/main" id="{153BEAA6-B56A-4A90-814F-BA0ADB6CB0C5}"/>
              </a:ext>
            </a:extLst>
          </p:cNvPr>
          <p:cNvSpPr/>
          <p:nvPr/>
        </p:nvSpPr>
        <p:spPr>
          <a:xfrm>
            <a:off x="1920503" y="1340555"/>
            <a:ext cx="14570" cy="84797"/>
          </a:xfrm>
          <a:prstGeom prst="rect">
            <a:avLst/>
          </a:prstGeom>
          <a:solidFill>
            <a:srgbClr val="32C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8" name="Group 7">
            <a:extLst>
              <a:ext uri="{FF2B5EF4-FFF2-40B4-BE49-F238E27FC236}">
                <a16:creationId xmlns:a16="http://schemas.microsoft.com/office/drawing/2014/main" id="{DB066A64-1BA9-4A5E-B538-0CB27079190C}"/>
              </a:ext>
            </a:extLst>
          </p:cNvPr>
          <p:cNvGrpSpPr/>
          <p:nvPr/>
        </p:nvGrpSpPr>
        <p:grpSpPr>
          <a:xfrm>
            <a:off x="7901110" y="2843113"/>
            <a:ext cx="2149538" cy="1116000"/>
            <a:chOff x="7912634" y="2843113"/>
            <a:chExt cx="2149538" cy="1116000"/>
          </a:xfrm>
        </p:grpSpPr>
        <p:sp>
          <p:nvSpPr>
            <p:cNvPr id="27" name="TextBox 26">
              <a:extLst>
                <a:ext uri="{FF2B5EF4-FFF2-40B4-BE49-F238E27FC236}">
                  <a16:creationId xmlns:a16="http://schemas.microsoft.com/office/drawing/2014/main" id="{56D05362-5681-4040-8651-CEE9AE808B36}"/>
                </a:ext>
              </a:extLst>
            </p:cNvPr>
            <p:cNvSpPr txBox="1"/>
            <p:nvPr/>
          </p:nvSpPr>
          <p:spPr>
            <a:xfrm>
              <a:off x="9046282" y="3216447"/>
              <a:ext cx="1015890" cy="369332"/>
            </a:xfrm>
            <a:prstGeom prst="rect">
              <a:avLst/>
            </a:prstGeom>
            <a:noFill/>
          </p:spPr>
          <p:txBody>
            <a:bodyPr wrap="square" rtlCol="0">
              <a:spAutoFit/>
            </a:bodyPr>
            <a:lstStyle/>
            <a:p>
              <a:r>
                <a:rPr lang="es-ES" dirty="0">
                  <a:solidFill>
                    <a:srgbClr val="4D4D4D"/>
                  </a:solidFill>
                </a:rPr>
                <a:t>PowerBI</a:t>
              </a:r>
            </a:p>
          </p:txBody>
        </p:sp>
        <p:pic>
          <p:nvPicPr>
            <p:cNvPr id="29" name="Picture 28" descr="Logo&#10;&#10;Description automatically generated">
              <a:extLst>
                <a:ext uri="{FF2B5EF4-FFF2-40B4-BE49-F238E27FC236}">
                  <a16:creationId xmlns:a16="http://schemas.microsoft.com/office/drawing/2014/main" id="{974446CD-1303-4891-A88C-CC631447FB9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12634" y="2843113"/>
              <a:ext cx="1069903" cy="1116000"/>
            </a:xfrm>
            <a:prstGeom prst="rect">
              <a:avLst/>
            </a:prstGeom>
          </p:spPr>
        </p:pic>
      </p:grpSp>
      <p:sp>
        <p:nvSpPr>
          <p:cNvPr id="28" name="TextBox 27">
            <a:extLst>
              <a:ext uri="{FF2B5EF4-FFF2-40B4-BE49-F238E27FC236}">
                <a16:creationId xmlns:a16="http://schemas.microsoft.com/office/drawing/2014/main" id="{14EA2A31-0B1A-44A2-8656-9867FAB1FCFD}"/>
              </a:ext>
            </a:extLst>
          </p:cNvPr>
          <p:cNvSpPr txBox="1"/>
          <p:nvPr/>
        </p:nvSpPr>
        <p:spPr>
          <a:xfrm>
            <a:off x="6462674" y="4375280"/>
            <a:ext cx="5026411" cy="1477328"/>
          </a:xfrm>
          <a:prstGeom prst="rect">
            <a:avLst/>
          </a:prstGeom>
          <a:noFill/>
        </p:spPr>
        <p:txBody>
          <a:bodyPr wrap="square">
            <a:spAutoFit/>
          </a:bodyPr>
          <a:lstStyle/>
          <a:p>
            <a:pPr>
              <a:buClr>
                <a:srgbClr val="FFFF00"/>
              </a:buClr>
            </a:pPr>
            <a:r>
              <a:rPr lang="es-ES" dirty="0">
                <a:solidFill>
                  <a:srgbClr val="4D4D4D"/>
                </a:solidFill>
              </a:rPr>
              <a:t>Con PowerBI se representan gráficos que muestran relaciones entre las variables del dataset, aplicando filtros y comparando con la variable emisiones CO2, vemos qué características de la vivienda influyen más</a:t>
            </a:r>
          </a:p>
        </p:txBody>
      </p:sp>
    </p:spTree>
    <p:extLst>
      <p:ext uri="{BB962C8B-B14F-4D97-AF65-F5344CB8AC3E}">
        <p14:creationId xmlns:p14="http://schemas.microsoft.com/office/powerpoint/2010/main" val="4407296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1E33D7-5EE7-4E43-95B4-F82EFB01A7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51E33D7-5EE7-4E43-95B4-F82EFB01A7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51A6D85-3837-435F-A342-5A3F98172B12}"/>
              </a:ext>
            </a:extLst>
          </p:cNvPr>
          <p:cNvSpPr>
            <a:spLocks noGrp="1"/>
          </p:cNvSpPr>
          <p:nvPr>
            <p:ph type="body" idx="1"/>
          </p:nvPr>
        </p:nvSpPr>
        <p:spPr>
          <a:xfrm>
            <a:off x="960120" y="4544568"/>
            <a:ext cx="10268712" cy="1545336"/>
          </a:xfrm>
        </p:spPr>
        <p:txBody>
          <a:bodyPr/>
          <a:lstStyle/>
          <a:p>
            <a:pPr algn="r"/>
            <a:r>
              <a:rPr lang="es-ES" dirty="0">
                <a:solidFill>
                  <a:srgbClr val="4D4D4D"/>
                </a:solidFill>
              </a:rPr>
              <a:t>Contexto y Procesado del Dataset</a:t>
            </a:r>
          </a:p>
        </p:txBody>
      </p:sp>
      <p:sp>
        <p:nvSpPr>
          <p:cNvPr id="6" name="Title 5">
            <a:extLst>
              <a:ext uri="{FF2B5EF4-FFF2-40B4-BE49-F238E27FC236}">
                <a16:creationId xmlns:a16="http://schemas.microsoft.com/office/drawing/2014/main" id="{CCC7D267-DCEC-4B85-81EC-31ABD1F5384C}"/>
              </a:ext>
            </a:extLst>
          </p:cNvPr>
          <p:cNvSpPr>
            <a:spLocks noGrp="1"/>
          </p:cNvSpPr>
          <p:nvPr>
            <p:ph type="title"/>
          </p:nvPr>
        </p:nvSpPr>
        <p:spPr/>
        <p:txBody>
          <a:bodyPr/>
          <a:lstStyle/>
          <a:p>
            <a:endParaRPr lang="es-ES" dirty="0"/>
          </a:p>
        </p:txBody>
      </p:sp>
      <p:pic>
        <p:nvPicPr>
          <p:cNvPr id="3" name="Picture 2" descr="A piece of paper with writing on it next to a computer&#10;&#10;Description automatically generated with medium confidence">
            <a:extLst>
              <a:ext uri="{FF2B5EF4-FFF2-40B4-BE49-F238E27FC236}">
                <a16:creationId xmlns:a16="http://schemas.microsoft.com/office/drawing/2014/main" id="{3150ADF4-BF12-42C9-A378-F03025EF4B94}"/>
              </a:ext>
            </a:extLst>
          </p:cNvPr>
          <p:cNvPicPr>
            <a:picLocks noChangeAspect="1"/>
          </p:cNvPicPr>
          <p:nvPr/>
        </p:nvPicPr>
        <p:blipFill rotWithShape="1">
          <a:blip r:embed="rId5"/>
          <a:srcRect t="23938" b="23938"/>
          <a:stretch/>
        </p:blipFill>
        <p:spPr>
          <a:xfrm>
            <a:off x="0" y="0"/>
            <a:ext cx="12192001" cy="4267200"/>
          </a:xfrm>
          <a:prstGeom prst="rect">
            <a:avLst/>
          </a:prstGeom>
        </p:spPr>
      </p:pic>
      <p:pic>
        <p:nvPicPr>
          <p:cNvPr id="7" name="Picture 6" descr="A person lying on the floor&#10;&#10;Description automatically generated with low confidence">
            <a:extLst>
              <a:ext uri="{FF2B5EF4-FFF2-40B4-BE49-F238E27FC236}">
                <a16:creationId xmlns:a16="http://schemas.microsoft.com/office/drawing/2014/main" id="{17B58CD9-6E30-4FF8-9BBD-90911EA6E734}"/>
              </a:ext>
            </a:extLst>
          </p:cNvPr>
          <p:cNvPicPr>
            <a:picLocks noChangeAspect="1"/>
          </p:cNvPicPr>
          <p:nvPr/>
        </p:nvPicPr>
        <p:blipFill rotWithShape="1">
          <a:blip r:embed="rId6"/>
          <a:srcRect l="-13" t="39259" r="13" b="41123"/>
          <a:stretch/>
        </p:blipFill>
        <p:spPr>
          <a:xfrm>
            <a:off x="-3048" y="0"/>
            <a:ext cx="12192000" cy="4267200"/>
          </a:xfrm>
          <a:prstGeom prst="rect">
            <a:avLst/>
          </a:prstGeom>
        </p:spPr>
      </p:pic>
    </p:spTree>
    <p:extLst>
      <p:ext uri="{BB962C8B-B14F-4D97-AF65-F5344CB8AC3E}">
        <p14:creationId xmlns:p14="http://schemas.microsoft.com/office/powerpoint/2010/main" val="42298121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58D089-3C8A-4DB5-B385-1D8F29891C43}"/>
              </a:ext>
            </a:extLst>
          </p:cNvPr>
          <p:cNvGraphicFramePr>
            <a:graphicFrameLocks noChangeAspect="1"/>
          </p:cNvGraphicFramePr>
          <p:nvPr>
            <p:custDataLst>
              <p:tags r:id="rId1"/>
            </p:custDataLst>
            <p:extLst>
              <p:ext uri="{D42A27DB-BD31-4B8C-83A1-F6EECF244321}">
                <p14:modId xmlns:p14="http://schemas.microsoft.com/office/powerpoint/2010/main" val="3998779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2" name="Object 11" hidden="1">
                        <a:extLst>
                          <a:ext uri="{FF2B5EF4-FFF2-40B4-BE49-F238E27FC236}">
                            <a16:creationId xmlns:a16="http://schemas.microsoft.com/office/drawing/2014/main" id="{F658D089-3C8A-4DB5-B385-1D8F29891C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D6B1B9-77FC-433D-9851-1201CFDA3270}"/>
              </a:ext>
            </a:extLst>
          </p:cNvPr>
          <p:cNvSpPr>
            <a:spLocks noGrp="1"/>
          </p:cNvSpPr>
          <p:nvPr>
            <p:ph type="title"/>
          </p:nvPr>
        </p:nvSpPr>
        <p:spPr>
          <a:xfrm>
            <a:off x="466344" y="317814"/>
            <a:ext cx="10268712" cy="1700784"/>
          </a:xfrm>
        </p:spPr>
        <p:txBody>
          <a:bodyPr vert="horz"/>
          <a:lstStyle/>
          <a:p>
            <a:r>
              <a:rPr lang="es-ES" cap="none" dirty="0"/>
              <a:t>Contexto dataset</a:t>
            </a:r>
          </a:p>
        </p:txBody>
      </p:sp>
      <p:sp>
        <p:nvSpPr>
          <p:cNvPr id="11" name="Slide Number Placeholder 9">
            <a:extLst>
              <a:ext uri="{FF2B5EF4-FFF2-40B4-BE49-F238E27FC236}">
                <a16:creationId xmlns:a16="http://schemas.microsoft.com/office/drawing/2014/main" id="{1AEC9149-F5C3-45FA-B09D-CF6B7D2456CD}"/>
              </a:ext>
            </a:extLst>
          </p:cNvPr>
          <p:cNvSpPr>
            <a:spLocks noGrp="1"/>
          </p:cNvSpPr>
          <p:nvPr>
            <p:ph type="sldNum" sz="quarter" idx="12"/>
          </p:nvPr>
        </p:nvSpPr>
        <p:spPr>
          <a:xfrm>
            <a:off x="0" y="6356350"/>
            <a:ext cx="932688" cy="365125"/>
          </a:xfrm>
        </p:spPr>
        <p:txBody>
          <a:bodyPr/>
          <a:lstStyle/>
          <a:p>
            <a:fld id="{F97E8200-1950-409B-82E7-99938E7AE355}" type="slidenum">
              <a:rPr lang="en-US" smtClean="0"/>
              <a:pPr/>
              <a:t>7</a:t>
            </a:fld>
            <a:endParaRPr lang="en-US" dirty="0"/>
          </a:p>
        </p:txBody>
      </p:sp>
      <p:sp>
        <p:nvSpPr>
          <p:cNvPr id="25" name="Rectangle 24">
            <a:extLst>
              <a:ext uri="{FF2B5EF4-FFF2-40B4-BE49-F238E27FC236}">
                <a16:creationId xmlns:a16="http://schemas.microsoft.com/office/drawing/2014/main" id="{153BEAA6-B56A-4A90-814F-BA0ADB6CB0C5}"/>
              </a:ext>
            </a:extLst>
          </p:cNvPr>
          <p:cNvSpPr/>
          <p:nvPr/>
        </p:nvSpPr>
        <p:spPr>
          <a:xfrm>
            <a:off x="1920503" y="1340555"/>
            <a:ext cx="14570" cy="84797"/>
          </a:xfrm>
          <a:prstGeom prst="rect">
            <a:avLst/>
          </a:prstGeom>
          <a:solidFill>
            <a:srgbClr val="32C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32" name="Group 31">
            <a:extLst>
              <a:ext uri="{FF2B5EF4-FFF2-40B4-BE49-F238E27FC236}">
                <a16:creationId xmlns:a16="http://schemas.microsoft.com/office/drawing/2014/main" id="{8769F4E8-F016-4506-A859-B06015CEE989}"/>
              </a:ext>
            </a:extLst>
          </p:cNvPr>
          <p:cNvGrpSpPr/>
          <p:nvPr/>
        </p:nvGrpSpPr>
        <p:grpSpPr>
          <a:xfrm>
            <a:off x="466344" y="2446587"/>
            <a:ext cx="5346192" cy="3704542"/>
            <a:chOff x="466344" y="2446587"/>
            <a:chExt cx="5346192" cy="3704542"/>
          </a:xfrm>
          <a:effectLst>
            <a:outerShdw blurRad="50800" dist="38100" dir="5400000" algn="t" rotWithShape="0">
              <a:schemeClr val="bg1">
                <a:lumMod val="50000"/>
                <a:alpha val="40000"/>
              </a:schemeClr>
            </a:outerShdw>
          </a:effectLst>
        </p:grpSpPr>
        <p:sp>
          <p:nvSpPr>
            <p:cNvPr id="9" name="Rectangle 8">
              <a:extLst>
                <a:ext uri="{FF2B5EF4-FFF2-40B4-BE49-F238E27FC236}">
                  <a16:creationId xmlns:a16="http://schemas.microsoft.com/office/drawing/2014/main" id="{AF4AC920-CCE9-453D-BAA1-1C82419F7FA3}"/>
                </a:ext>
              </a:extLst>
            </p:cNvPr>
            <p:cNvSpPr/>
            <p:nvPr/>
          </p:nvSpPr>
          <p:spPr>
            <a:xfrm>
              <a:off x="466344" y="2446587"/>
              <a:ext cx="5346192" cy="3704542"/>
            </a:xfrm>
            <a:prstGeom prst="rect">
              <a:avLst/>
            </a:prstGeom>
            <a:solidFill>
              <a:schemeClr val="bg1"/>
            </a:solidFill>
            <a:ln w="28575">
              <a:solidFill>
                <a:srgbClr val="4AB5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8" name="TextBox 17">
              <a:extLst>
                <a:ext uri="{FF2B5EF4-FFF2-40B4-BE49-F238E27FC236}">
                  <a16:creationId xmlns:a16="http://schemas.microsoft.com/office/drawing/2014/main" id="{CEBAF0F9-0C80-4439-B403-340F2CB33238}"/>
                </a:ext>
              </a:extLst>
            </p:cNvPr>
            <p:cNvSpPr txBox="1"/>
            <p:nvPr/>
          </p:nvSpPr>
          <p:spPr>
            <a:xfrm>
              <a:off x="853439" y="2690726"/>
              <a:ext cx="4148330" cy="3216265"/>
            </a:xfrm>
            <a:prstGeom prst="rect">
              <a:avLst/>
            </a:prstGeom>
            <a:noFill/>
          </p:spPr>
          <p:txBody>
            <a:bodyPr wrap="square">
              <a:spAutoFit/>
            </a:bodyPr>
            <a:lstStyle/>
            <a:p>
              <a:pPr algn="l">
                <a:spcBef>
                  <a:spcPts val="600"/>
                </a:spcBef>
              </a:pPr>
              <a:r>
                <a:rPr lang="es-ES" b="0" i="0" dirty="0">
                  <a:solidFill>
                    <a:srgbClr val="4D4D4D"/>
                  </a:solidFill>
                  <a:effectLst/>
                </a:rPr>
                <a:t>“En 2021, </a:t>
              </a:r>
              <a:r>
                <a:rPr lang="es-ES" b="1" i="0" dirty="0">
                  <a:solidFill>
                    <a:srgbClr val="4AB5C4"/>
                  </a:solidFill>
                  <a:effectLst/>
                </a:rPr>
                <a:t>las emisiones de CO2 en </a:t>
              </a:r>
              <a:r>
                <a:rPr lang="es-ES" b="1" i="0" strike="noStrike" dirty="0">
                  <a:solidFill>
                    <a:srgbClr val="4AB5C4"/>
                  </a:solidFill>
                  <a:effectLst/>
                  <a:hlinkClick r:id="rId6">
                    <a:extLst>
                      <a:ext uri="{A12FA001-AC4F-418D-AE19-62706E023703}">
                        <ahyp:hlinkClr xmlns:ahyp="http://schemas.microsoft.com/office/drawing/2018/hyperlinkcolor" val="tx"/>
                      </a:ext>
                    </a:extLst>
                  </a:hlinkClick>
                </a:rPr>
                <a:t>España</a:t>
              </a:r>
              <a:r>
                <a:rPr lang="es-ES" b="0" i="0" dirty="0">
                  <a:solidFill>
                    <a:srgbClr val="4D4D4D"/>
                  </a:solidFill>
                  <a:effectLst/>
                </a:rPr>
                <a:t> han crecido 19,447 megatoneladas, un 9,15% respecto a 2020.”</a:t>
              </a:r>
            </a:p>
            <a:p>
              <a:pPr algn="l">
                <a:spcBef>
                  <a:spcPts val="600"/>
                </a:spcBef>
              </a:pPr>
              <a:r>
                <a:rPr lang="es-ES" b="0" i="0" dirty="0">
                  <a:solidFill>
                    <a:srgbClr val="4D4D4D"/>
                  </a:solidFill>
                  <a:effectLst/>
                </a:rPr>
                <a:t>“Las emisiones de CO2 en 2021 han sido de </a:t>
              </a:r>
              <a:r>
                <a:rPr lang="es-ES" b="1" i="0" dirty="0">
                  <a:solidFill>
                    <a:srgbClr val="4AB5C4"/>
                  </a:solidFill>
                  <a:effectLst/>
                </a:rPr>
                <a:t>231,914 megatoneladas</a:t>
              </a:r>
              <a:r>
                <a:rPr lang="es-ES" b="0" i="0" dirty="0">
                  <a:solidFill>
                    <a:srgbClr val="4D4D4D"/>
                  </a:solidFill>
                  <a:effectLst/>
                </a:rPr>
                <a:t>, con lo que </a:t>
              </a:r>
              <a:r>
                <a:rPr lang="es-ES" b="1" i="0" dirty="0">
                  <a:solidFill>
                    <a:srgbClr val="4AB5C4"/>
                  </a:solidFill>
                  <a:effectLst/>
                </a:rPr>
                <a:t>España es el país número 159 del </a:t>
              </a:r>
              <a:r>
                <a:rPr lang="es-ES" b="1" i="0" u="none" strike="noStrike" dirty="0">
                  <a:solidFill>
                    <a:srgbClr val="4AB5C4"/>
                  </a:solidFill>
                  <a:effectLst/>
                  <a:hlinkClick r:id="rId7">
                    <a:extLst>
                      <a:ext uri="{A12FA001-AC4F-418D-AE19-62706E023703}">
                        <ahyp:hlinkClr xmlns:ahyp="http://schemas.microsoft.com/office/drawing/2018/hyperlinkcolor" val="tx"/>
                      </a:ext>
                    </a:extLst>
                  </a:hlinkClick>
                </a:rPr>
                <a:t>ranking de países por emisiones de CO2</a:t>
              </a:r>
              <a:r>
                <a:rPr lang="es-ES" b="0" i="0" dirty="0">
                  <a:solidFill>
                    <a:srgbClr val="4D4D4D"/>
                  </a:solidFill>
                  <a:effectLst/>
                </a:rPr>
                <a:t>, formado por 184 países, en el que se ordenan los países de menos a más contaminantes.”</a:t>
              </a:r>
            </a:p>
          </p:txBody>
        </p:sp>
        <p:pic>
          <p:nvPicPr>
            <p:cNvPr id="17" name="Graphic 16" descr="Thought bubble with solid fill">
              <a:extLst>
                <a:ext uri="{FF2B5EF4-FFF2-40B4-BE49-F238E27FC236}">
                  <a16:creationId xmlns:a16="http://schemas.microsoft.com/office/drawing/2014/main" id="{502F1B41-9776-46A8-98CA-AEC01613EEE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4128" y="2497735"/>
              <a:ext cx="914400" cy="914400"/>
            </a:xfrm>
            <a:prstGeom prst="rect">
              <a:avLst/>
            </a:prstGeom>
          </p:spPr>
        </p:pic>
      </p:grpSp>
      <p:sp>
        <p:nvSpPr>
          <p:cNvPr id="24" name="Footer Placeholder 8">
            <a:extLst>
              <a:ext uri="{FF2B5EF4-FFF2-40B4-BE49-F238E27FC236}">
                <a16:creationId xmlns:a16="http://schemas.microsoft.com/office/drawing/2014/main" id="{A27C0066-1A1F-46B2-B687-D5C242CBCA16}"/>
              </a:ext>
            </a:extLst>
          </p:cNvPr>
          <p:cNvSpPr>
            <a:spLocks noGrp="1"/>
          </p:cNvSpPr>
          <p:nvPr>
            <p:ph type="ftr" sz="quarter" idx="11"/>
          </p:nvPr>
        </p:nvSpPr>
        <p:spPr>
          <a:xfrm>
            <a:off x="960121" y="6356350"/>
            <a:ext cx="3353262" cy="365125"/>
          </a:xfrm>
        </p:spPr>
        <p:txBody>
          <a:bodyPr/>
          <a:lstStyle/>
          <a:p>
            <a:r>
              <a:rPr lang="en-US" cap="none" dirty="0"/>
              <a:t>Fuente: Expansión/Datosmacro.com</a:t>
            </a:r>
          </a:p>
        </p:txBody>
      </p:sp>
      <p:grpSp>
        <p:nvGrpSpPr>
          <p:cNvPr id="31" name="Group 30">
            <a:extLst>
              <a:ext uri="{FF2B5EF4-FFF2-40B4-BE49-F238E27FC236}">
                <a16:creationId xmlns:a16="http://schemas.microsoft.com/office/drawing/2014/main" id="{BE3DD712-D5CB-4678-A8F5-922329DB4E0C}"/>
              </a:ext>
            </a:extLst>
          </p:cNvPr>
          <p:cNvGrpSpPr/>
          <p:nvPr/>
        </p:nvGrpSpPr>
        <p:grpSpPr>
          <a:xfrm>
            <a:off x="6379464" y="2446587"/>
            <a:ext cx="5346192" cy="3704542"/>
            <a:chOff x="6379464" y="2446587"/>
            <a:chExt cx="5346192" cy="3704542"/>
          </a:xfrm>
          <a:effectLst>
            <a:outerShdw blurRad="50800" dist="38100" dir="5400000" algn="t" rotWithShape="0">
              <a:schemeClr val="bg1">
                <a:lumMod val="50000"/>
                <a:alpha val="40000"/>
              </a:schemeClr>
            </a:outerShdw>
          </a:effectLst>
        </p:grpSpPr>
        <p:sp>
          <p:nvSpPr>
            <p:cNvPr id="30" name="Rectangle 29">
              <a:extLst>
                <a:ext uri="{FF2B5EF4-FFF2-40B4-BE49-F238E27FC236}">
                  <a16:creationId xmlns:a16="http://schemas.microsoft.com/office/drawing/2014/main" id="{5ED73A60-ED02-4F22-A36F-77D083D1A29E}"/>
                </a:ext>
              </a:extLst>
            </p:cNvPr>
            <p:cNvSpPr/>
            <p:nvPr/>
          </p:nvSpPr>
          <p:spPr>
            <a:xfrm>
              <a:off x="6379464" y="2446587"/>
              <a:ext cx="5346192" cy="3704542"/>
            </a:xfrm>
            <a:prstGeom prst="rect">
              <a:avLst/>
            </a:prstGeom>
            <a:solidFill>
              <a:schemeClr val="bg1"/>
            </a:solidFill>
            <a:ln w="28575">
              <a:solidFill>
                <a:srgbClr val="4AB5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2" name="Picture 21" descr="Chart, line chart&#10;&#10;Description automatically generated">
              <a:extLst>
                <a:ext uri="{FF2B5EF4-FFF2-40B4-BE49-F238E27FC236}">
                  <a16:creationId xmlns:a16="http://schemas.microsoft.com/office/drawing/2014/main" id="{CCE913C3-DB03-41B4-BC7F-418A9674B0E9}"/>
                </a:ext>
              </a:extLst>
            </p:cNvPr>
            <p:cNvPicPr>
              <a:picLocks noChangeAspect="1"/>
            </p:cNvPicPr>
            <p:nvPr/>
          </p:nvPicPr>
          <p:blipFill>
            <a:blip r:embed="rId10"/>
            <a:stretch>
              <a:fillRect/>
            </a:stretch>
          </p:blipFill>
          <p:spPr>
            <a:xfrm>
              <a:off x="6901580" y="2698792"/>
              <a:ext cx="4301961" cy="3200132"/>
            </a:xfrm>
            <a:prstGeom prst="rect">
              <a:avLst/>
            </a:prstGeom>
          </p:spPr>
        </p:pic>
      </p:grpSp>
    </p:spTree>
    <p:extLst>
      <p:ext uri="{BB962C8B-B14F-4D97-AF65-F5344CB8AC3E}">
        <p14:creationId xmlns:p14="http://schemas.microsoft.com/office/powerpoint/2010/main" val="13413300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58D089-3C8A-4DB5-B385-1D8F29891C43}"/>
              </a:ext>
            </a:extLst>
          </p:cNvPr>
          <p:cNvGraphicFramePr>
            <a:graphicFrameLocks noChangeAspect="1"/>
          </p:cNvGraphicFramePr>
          <p:nvPr>
            <p:custDataLst>
              <p:tags r:id="rId1"/>
            </p:custDataLst>
            <p:extLst>
              <p:ext uri="{D42A27DB-BD31-4B8C-83A1-F6EECF244321}">
                <p14:modId xmlns:p14="http://schemas.microsoft.com/office/powerpoint/2010/main" val="2377603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2" name="Object 11" hidden="1">
                        <a:extLst>
                          <a:ext uri="{FF2B5EF4-FFF2-40B4-BE49-F238E27FC236}">
                            <a16:creationId xmlns:a16="http://schemas.microsoft.com/office/drawing/2014/main" id="{F658D089-3C8A-4DB5-B385-1D8F29891C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D6B1B9-77FC-433D-9851-1201CFDA3270}"/>
              </a:ext>
            </a:extLst>
          </p:cNvPr>
          <p:cNvSpPr>
            <a:spLocks noGrp="1"/>
          </p:cNvSpPr>
          <p:nvPr>
            <p:ph type="title"/>
          </p:nvPr>
        </p:nvSpPr>
        <p:spPr>
          <a:xfrm>
            <a:off x="466344" y="317814"/>
            <a:ext cx="10268712" cy="1700784"/>
          </a:xfrm>
        </p:spPr>
        <p:txBody>
          <a:bodyPr vert="horz"/>
          <a:lstStyle/>
          <a:p>
            <a:r>
              <a:rPr lang="es-ES" cap="none" dirty="0"/>
              <a:t>Contexto dataset; Variables</a:t>
            </a:r>
          </a:p>
        </p:txBody>
      </p:sp>
      <p:sp>
        <p:nvSpPr>
          <p:cNvPr id="11" name="Slide Number Placeholder 9">
            <a:extLst>
              <a:ext uri="{FF2B5EF4-FFF2-40B4-BE49-F238E27FC236}">
                <a16:creationId xmlns:a16="http://schemas.microsoft.com/office/drawing/2014/main" id="{1AEC9149-F5C3-45FA-B09D-CF6B7D2456CD}"/>
              </a:ext>
            </a:extLst>
          </p:cNvPr>
          <p:cNvSpPr>
            <a:spLocks noGrp="1"/>
          </p:cNvSpPr>
          <p:nvPr>
            <p:ph type="sldNum" sz="quarter" idx="12"/>
          </p:nvPr>
        </p:nvSpPr>
        <p:spPr>
          <a:xfrm>
            <a:off x="0" y="6356350"/>
            <a:ext cx="932688" cy="365125"/>
          </a:xfrm>
        </p:spPr>
        <p:txBody>
          <a:bodyPr/>
          <a:lstStyle/>
          <a:p>
            <a:fld id="{F97E8200-1950-409B-82E7-99938E7AE355}" type="slidenum">
              <a:rPr lang="en-US" smtClean="0"/>
              <a:pPr/>
              <a:t>8</a:t>
            </a:fld>
            <a:endParaRPr lang="en-US" dirty="0"/>
          </a:p>
        </p:txBody>
      </p:sp>
      <p:sp>
        <p:nvSpPr>
          <p:cNvPr id="25" name="Rectangle 24">
            <a:extLst>
              <a:ext uri="{FF2B5EF4-FFF2-40B4-BE49-F238E27FC236}">
                <a16:creationId xmlns:a16="http://schemas.microsoft.com/office/drawing/2014/main" id="{153BEAA6-B56A-4A90-814F-BA0ADB6CB0C5}"/>
              </a:ext>
            </a:extLst>
          </p:cNvPr>
          <p:cNvSpPr/>
          <p:nvPr/>
        </p:nvSpPr>
        <p:spPr>
          <a:xfrm>
            <a:off x="1920503" y="1340555"/>
            <a:ext cx="14570" cy="84797"/>
          </a:xfrm>
          <a:prstGeom prst="rect">
            <a:avLst/>
          </a:prstGeom>
          <a:solidFill>
            <a:srgbClr val="32C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10" name="Group 9">
            <a:extLst>
              <a:ext uri="{FF2B5EF4-FFF2-40B4-BE49-F238E27FC236}">
                <a16:creationId xmlns:a16="http://schemas.microsoft.com/office/drawing/2014/main" id="{8C4E7497-DAE1-4A1E-9204-E8094CFC0777}"/>
              </a:ext>
            </a:extLst>
          </p:cNvPr>
          <p:cNvGrpSpPr/>
          <p:nvPr/>
        </p:nvGrpSpPr>
        <p:grpSpPr>
          <a:xfrm>
            <a:off x="6368799" y="2029075"/>
            <a:ext cx="1927102" cy="2293426"/>
            <a:chOff x="6653782" y="1971482"/>
            <a:chExt cx="1927102" cy="2293426"/>
          </a:xfrm>
        </p:grpSpPr>
        <p:sp>
          <p:nvSpPr>
            <p:cNvPr id="3" name="TextBox 2">
              <a:extLst>
                <a:ext uri="{FF2B5EF4-FFF2-40B4-BE49-F238E27FC236}">
                  <a16:creationId xmlns:a16="http://schemas.microsoft.com/office/drawing/2014/main" id="{EC94CECA-A89B-4768-A23E-DEBDAF149AC9}"/>
                </a:ext>
              </a:extLst>
            </p:cNvPr>
            <p:cNvSpPr txBox="1"/>
            <p:nvPr/>
          </p:nvSpPr>
          <p:spPr>
            <a:xfrm>
              <a:off x="6828186" y="3895576"/>
              <a:ext cx="1578295" cy="369332"/>
            </a:xfrm>
            <a:prstGeom prst="rect">
              <a:avLst/>
            </a:prstGeom>
            <a:noFill/>
          </p:spPr>
          <p:txBody>
            <a:bodyPr wrap="square" rtlCol="0" anchor="ctr">
              <a:spAutoFit/>
            </a:bodyPr>
            <a:lstStyle/>
            <a:p>
              <a:pPr algn="ctr"/>
              <a:r>
                <a:rPr lang="es-ES" dirty="0">
                  <a:solidFill>
                    <a:srgbClr val="4D4D4D"/>
                  </a:solidFill>
                </a:rPr>
                <a:t>Categóricas</a:t>
              </a:r>
            </a:p>
          </p:txBody>
        </p:sp>
        <p:grpSp>
          <p:nvGrpSpPr>
            <p:cNvPr id="8" name="Group 7">
              <a:extLst>
                <a:ext uri="{FF2B5EF4-FFF2-40B4-BE49-F238E27FC236}">
                  <a16:creationId xmlns:a16="http://schemas.microsoft.com/office/drawing/2014/main" id="{C7FECA58-D182-4784-95A8-FCE03A2D2355}"/>
                </a:ext>
              </a:extLst>
            </p:cNvPr>
            <p:cNvGrpSpPr/>
            <p:nvPr/>
          </p:nvGrpSpPr>
          <p:grpSpPr>
            <a:xfrm>
              <a:off x="6653782" y="1971482"/>
              <a:ext cx="1927102" cy="2215991"/>
              <a:chOff x="5662422" y="1971482"/>
              <a:chExt cx="1927102" cy="2215991"/>
            </a:xfrm>
          </p:grpSpPr>
          <p:sp>
            <p:nvSpPr>
              <p:cNvPr id="7" name="TextBox 6">
                <a:extLst>
                  <a:ext uri="{FF2B5EF4-FFF2-40B4-BE49-F238E27FC236}">
                    <a16:creationId xmlns:a16="http://schemas.microsoft.com/office/drawing/2014/main" id="{12AE29FE-6342-4E18-8132-3DD12E5AD56A}"/>
                  </a:ext>
                </a:extLst>
              </p:cNvPr>
              <p:cNvSpPr txBox="1"/>
              <p:nvPr/>
            </p:nvSpPr>
            <p:spPr>
              <a:xfrm>
                <a:off x="5662422" y="2510582"/>
                <a:ext cx="580644" cy="1569660"/>
              </a:xfrm>
              <a:prstGeom prst="rect">
                <a:avLst/>
              </a:prstGeom>
              <a:noFill/>
            </p:spPr>
            <p:txBody>
              <a:bodyPr wrap="square" rtlCol="0" anchor="ctr">
                <a:spAutoFit/>
              </a:bodyPr>
              <a:lstStyle/>
              <a:p>
                <a:pPr algn="ctr"/>
                <a:r>
                  <a:rPr lang="es-ES" sz="9600" dirty="0"/>
                  <a:t>a</a:t>
                </a:r>
              </a:p>
            </p:txBody>
          </p:sp>
          <p:sp>
            <p:nvSpPr>
              <p:cNvPr id="20" name="TextBox 19">
                <a:extLst>
                  <a:ext uri="{FF2B5EF4-FFF2-40B4-BE49-F238E27FC236}">
                    <a16:creationId xmlns:a16="http://schemas.microsoft.com/office/drawing/2014/main" id="{C2BC4F18-F62E-42D9-ADCA-715154CA7569}"/>
                  </a:ext>
                </a:extLst>
              </p:cNvPr>
              <p:cNvSpPr txBox="1"/>
              <p:nvPr/>
            </p:nvSpPr>
            <p:spPr>
              <a:xfrm>
                <a:off x="6335651" y="1971482"/>
                <a:ext cx="580644" cy="2215991"/>
              </a:xfrm>
              <a:prstGeom prst="rect">
                <a:avLst/>
              </a:prstGeom>
              <a:noFill/>
            </p:spPr>
            <p:txBody>
              <a:bodyPr wrap="square" rtlCol="0" anchor="ctr">
                <a:spAutoFit/>
              </a:bodyPr>
              <a:lstStyle/>
              <a:p>
                <a:pPr algn="ctr"/>
                <a:r>
                  <a:rPr lang="es-ES" sz="13800" dirty="0"/>
                  <a:t>b</a:t>
                </a:r>
              </a:p>
            </p:txBody>
          </p:sp>
          <p:sp>
            <p:nvSpPr>
              <p:cNvPr id="21" name="TextBox 20">
                <a:extLst>
                  <a:ext uri="{FF2B5EF4-FFF2-40B4-BE49-F238E27FC236}">
                    <a16:creationId xmlns:a16="http://schemas.microsoft.com/office/drawing/2014/main" id="{3DED8AB9-C07A-489A-A2C5-0620BEA2DF9C}"/>
                  </a:ext>
                </a:extLst>
              </p:cNvPr>
              <p:cNvSpPr txBox="1"/>
              <p:nvPr/>
            </p:nvSpPr>
            <p:spPr>
              <a:xfrm>
                <a:off x="7008880" y="2767280"/>
                <a:ext cx="580644" cy="1323439"/>
              </a:xfrm>
              <a:prstGeom prst="rect">
                <a:avLst/>
              </a:prstGeom>
              <a:noFill/>
            </p:spPr>
            <p:txBody>
              <a:bodyPr wrap="square" rtlCol="0" anchor="ctr">
                <a:spAutoFit/>
              </a:bodyPr>
              <a:lstStyle/>
              <a:p>
                <a:pPr algn="ctr"/>
                <a:r>
                  <a:rPr lang="es-ES" sz="8000" dirty="0"/>
                  <a:t>c</a:t>
                </a:r>
              </a:p>
            </p:txBody>
          </p:sp>
        </p:grpSp>
      </p:grpSp>
      <p:grpSp>
        <p:nvGrpSpPr>
          <p:cNvPr id="13" name="Group 12">
            <a:extLst>
              <a:ext uri="{FF2B5EF4-FFF2-40B4-BE49-F238E27FC236}">
                <a16:creationId xmlns:a16="http://schemas.microsoft.com/office/drawing/2014/main" id="{0C1A9569-9525-41B3-A88B-B2C39336E2B8}"/>
              </a:ext>
            </a:extLst>
          </p:cNvPr>
          <p:cNvGrpSpPr/>
          <p:nvPr/>
        </p:nvGrpSpPr>
        <p:grpSpPr>
          <a:xfrm>
            <a:off x="466344" y="2018598"/>
            <a:ext cx="1927102" cy="2303903"/>
            <a:chOff x="2056824" y="2926079"/>
            <a:chExt cx="1927102" cy="2303903"/>
          </a:xfrm>
        </p:grpSpPr>
        <p:sp>
          <p:nvSpPr>
            <p:cNvPr id="15" name="TextBox 14">
              <a:extLst>
                <a:ext uri="{FF2B5EF4-FFF2-40B4-BE49-F238E27FC236}">
                  <a16:creationId xmlns:a16="http://schemas.microsoft.com/office/drawing/2014/main" id="{77D989D1-8357-4C06-BB6F-259D6F8D3CF8}"/>
                </a:ext>
              </a:extLst>
            </p:cNvPr>
            <p:cNvSpPr txBox="1"/>
            <p:nvPr/>
          </p:nvSpPr>
          <p:spPr>
            <a:xfrm>
              <a:off x="2231227" y="4860650"/>
              <a:ext cx="1578295" cy="369332"/>
            </a:xfrm>
            <a:prstGeom prst="rect">
              <a:avLst/>
            </a:prstGeom>
            <a:noFill/>
          </p:spPr>
          <p:txBody>
            <a:bodyPr wrap="square" rtlCol="0">
              <a:spAutoFit/>
            </a:bodyPr>
            <a:lstStyle/>
            <a:p>
              <a:pPr algn="ctr"/>
              <a:r>
                <a:rPr lang="es-ES" dirty="0">
                  <a:solidFill>
                    <a:srgbClr val="4D4D4D"/>
                  </a:solidFill>
                </a:rPr>
                <a:t>Numéricas</a:t>
              </a:r>
            </a:p>
          </p:txBody>
        </p:sp>
        <p:grpSp>
          <p:nvGrpSpPr>
            <p:cNvPr id="23" name="Group 22">
              <a:extLst>
                <a:ext uri="{FF2B5EF4-FFF2-40B4-BE49-F238E27FC236}">
                  <a16:creationId xmlns:a16="http://schemas.microsoft.com/office/drawing/2014/main" id="{4A3E1F74-8697-45F7-A00E-190991F65AEE}"/>
                </a:ext>
              </a:extLst>
            </p:cNvPr>
            <p:cNvGrpSpPr/>
            <p:nvPr/>
          </p:nvGrpSpPr>
          <p:grpSpPr>
            <a:xfrm>
              <a:off x="2056824" y="2926079"/>
              <a:ext cx="1927102" cy="2215991"/>
              <a:chOff x="5662422" y="1971482"/>
              <a:chExt cx="1927102" cy="2215991"/>
            </a:xfrm>
          </p:grpSpPr>
          <p:sp>
            <p:nvSpPr>
              <p:cNvPr id="26" name="TextBox 25">
                <a:extLst>
                  <a:ext uri="{FF2B5EF4-FFF2-40B4-BE49-F238E27FC236}">
                    <a16:creationId xmlns:a16="http://schemas.microsoft.com/office/drawing/2014/main" id="{A8E7939B-6DA0-49FD-8D64-B9146C6E740F}"/>
                  </a:ext>
                </a:extLst>
              </p:cNvPr>
              <p:cNvSpPr txBox="1"/>
              <p:nvPr/>
            </p:nvSpPr>
            <p:spPr>
              <a:xfrm>
                <a:off x="5662422" y="2510582"/>
                <a:ext cx="580644" cy="1569660"/>
              </a:xfrm>
              <a:prstGeom prst="rect">
                <a:avLst/>
              </a:prstGeom>
              <a:noFill/>
            </p:spPr>
            <p:txBody>
              <a:bodyPr wrap="square" rtlCol="0" anchor="ctr">
                <a:spAutoFit/>
              </a:bodyPr>
              <a:lstStyle/>
              <a:p>
                <a:pPr algn="ctr"/>
                <a:r>
                  <a:rPr lang="es-ES" sz="9600" dirty="0"/>
                  <a:t>1</a:t>
                </a:r>
              </a:p>
            </p:txBody>
          </p:sp>
          <p:sp>
            <p:nvSpPr>
              <p:cNvPr id="27" name="TextBox 26">
                <a:extLst>
                  <a:ext uri="{FF2B5EF4-FFF2-40B4-BE49-F238E27FC236}">
                    <a16:creationId xmlns:a16="http://schemas.microsoft.com/office/drawing/2014/main" id="{6B1E74F3-564A-4545-B04F-0C43852E1469}"/>
                  </a:ext>
                </a:extLst>
              </p:cNvPr>
              <p:cNvSpPr txBox="1"/>
              <p:nvPr/>
            </p:nvSpPr>
            <p:spPr>
              <a:xfrm>
                <a:off x="6335651" y="1971482"/>
                <a:ext cx="580644" cy="2215991"/>
              </a:xfrm>
              <a:prstGeom prst="rect">
                <a:avLst/>
              </a:prstGeom>
              <a:noFill/>
            </p:spPr>
            <p:txBody>
              <a:bodyPr wrap="square" rtlCol="0" anchor="ctr">
                <a:spAutoFit/>
              </a:bodyPr>
              <a:lstStyle/>
              <a:p>
                <a:pPr algn="ctr"/>
                <a:r>
                  <a:rPr lang="es-ES" sz="13800" dirty="0"/>
                  <a:t>2</a:t>
                </a:r>
              </a:p>
            </p:txBody>
          </p:sp>
          <p:sp>
            <p:nvSpPr>
              <p:cNvPr id="28" name="TextBox 27">
                <a:extLst>
                  <a:ext uri="{FF2B5EF4-FFF2-40B4-BE49-F238E27FC236}">
                    <a16:creationId xmlns:a16="http://schemas.microsoft.com/office/drawing/2014/main" id="{B0E863C1-4C06-457B-9A83-CD11D0D47438}"/>
                  </a:ext>
                </a:extLst>
              </p:cNvPr>
              <p:cNvSpPr txBox="1"/>
              <p:nvPr/>
            </p:nvSpPr>
            <p:spPr>
              <a:xfrm>
                <a:off x="7008880" y="2767280"/>
                <a:ext cx="580644" cy="1323439"/>
              </a:xfrm>
              <a:prstGeom prst="rect">
                <a:avLst/>
              </a:prstGeom>
              <a:noFill/>
            </p:spPr>
            <p:txBody>
              <a:bodyPr wrap="square" rtlCol="0" anchor="ctr">
                <a:spAutoFit/>
              </a:bodyPr>
              <a:lstStyle/>
              <a:p>
                <a:pPr algn="ctr"/>
                <a:r>
                  <a:rPr lang="es-ES" sz="8000" dirty="0"/>
                  <a:t>3</a:t>
                </a:r>
              </a:p>
            </p:txBody>
          </p:sp>
        </p:grpSp>
      </p:grpSp>
      <p:cxnSp>
        <p:nvCxnSpPr>
          <p:cNvPr id="29" name="Straight Connector 28">
            <a:extLst>
              <a:ext uri="{FF2B5EF4-FFF2-40B4-BE49-F238E27FC236}">
                <a16:creationId xmlns:a16="http://schemas.microsoft.com/office/drawing/2014/main" id="{F3D39700-C44D-47E6-874E-D479145A9730}"/>
              </a:ext>
            </a:extLst>
          </p:cNvPr>
          <p:cNvCxnSpPr>
            <a:cxnSpLocks/>
          </p:cNvCxnSpPr>
          <p:nvPr/>
        </p:nvCxnSpPr>
        <p:spPr>
          <a:xfrm>
            <a:off x="6096000" y="2243328"/>
            <a:ext cx="0" cy="3276000"/>
          </a:xfrm>
          <a:prstGeom prst="line">
            <a:avLst/>
          </a:prstGeom>
          <a:ln>
            <a:solidFill>
              <a:srgbClr val="4AB5C4"/>
            </a:solidFill>
            <a:prstDash val="lgDash"/>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3C068EEB-D85B-43DC-BD83-0ADD8FA99186}"/>
              </a:ext>
            </a:extLst>
          </p:cNvPr>
          <p:cNvGrpSpPr/>
          <p:nvPr/>
        </p:nvGrpSpPr>
        <p:grpSpPr>
          <a:xfrm>
            <a:off x="2710444" y="3140457"/>
            <a:ext cx="2946644" cy="2364284"/>
            <a:chOff x="2710444" y="3194304"/>
            <a:chExt cx="2946644" cy="2364284"/>
          </a:xfrm>
          <a:effectLst>
            <a:outerShdw blurRad="50800" dist="38100" dir="8100000" algn="tr" rotWithShape="0">
              <a:schemeClr val="bg1">
                <a:lumMod val="50000"/>
                <a:alpha val="40000"/>
              </a:schemeClr>
            </a:outerShdw>
          </a:effectLst>
        </p:grpSpPr>
        <p:sp>
          <p:nvSpPr>
            <p:cNvPr id="16" name="Speech Bubble: Rectangle 15">
              <a:extLst>
                <a:ext uri="{FF2B5EF4-FFF2-40B4-BE49-F238E27FC236}">
                  <a16:creationId xmlns:a16="http://schemas.microsoft.com/office/drawing/2014/main" id="{5A3D166D-3ED9-41B7-A9BF-5AFAB4D8AB3A}"/>
                </a:ext>
              </a:extLst>
            </p:cNvPr>
            <p:cNvSpPr/>
            <p:nvPr/>
          </p:nvSpPr>
          <p:spPr>
            <a:xfrm rot="5400000">
              <a:off x="3001624" y="2903124"/>
              <a:ext cx="2364284" cy="2946644"/>
            </a:xfrm>
            <a:prstGeom prst="wedgeRectCallout">
              <a:avLst>
                <a:gd name="adj1" fmla="val -33542"/>
                <a:gd name="adj2" fmla="val 5721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4" name="TextBox 33">
              <a:extLst>
                <a:ext uri="{FF2B5EF4-FFF2-40B4-BE49-F238E27FC236}">
                  <a16:creationId xmlns:a16="http://schemas.microsoft.com/office/drawing/2014/main" id="{77C66360-EB7A-4367-BEB1-2D4E58D333E0}"/>
                </a:ext>
              </a:extLst>
            </p:cNvPr>
            <p:cNvSpPr txBox="1"/>
            <p:nvPr/>
          </p:nvSpPr>
          <p:spPr>
            <a:xfrm>
              <a:off x="2717867" y="3283838"/>
              <a:ext cx="2923225" cy="2185214"/>
            </a:xfrm>
            <a:prstGeom prst="rect">
              <a:avLst/>
            </a:prstGeom>
            <a:noFill/>
          </p:spPr>
          <p:txBody>
            <a:bodyPr wrap="square" rIns="72000" rtlCol="0">
              <a:spAutoFit/>
            </a:bodyPr>
            <a:lstStyle/>
            <a:p>
              <a:pPr marL="144000" indent="-144000">
                <a:spcBef>
                  <a:spcPts val="600"/>
                </a:spcBef>
                <a:spcAft>
                  <a:spcPts val="600"/>
                </a:spcAft>
                <a:buFont typeface="Arial" panose="020B0604020202020204" pitchFamily="34" charset="0"/>
                <a:buChar char="•"/>
              </a:pPr>
              <a:r>
                <a:rPr lang="es-ES" sz="1600" dirty="0">
                  <a:solidFill>
                    <a:srgbClr val="4D4D4D"/>
                  </a:solidFill>
                </a:rPr>
                <a:t>Zona Climática</a:t>
              </a:r>
            </a:p>
            <a:p>
              <a:pPr marL="144000" indent="-144000">
                <a:spcBef>
                  <a:spcPts val="600"/>
                </a:spcBef>
                <a:spcAft>
                  <a:spcPts val="600"/>
                </a:spcAft>
                <a:buFont typeface="Arial" panose="020B0604020202020204" pitchFamily="34" charset="0"/>
                <a:buChar char="•"/>
              </a:pPr>
              <a:r>
                <a:rPr lang="es-ES" sz="1600" dirty="0">
                  <a:solidFill>
                    <a:srgbClr val="4D4D4D"/>
                  </a:solidFill>
                </a:rPr>
                <a:t>Uso Edificio</a:t>
              </a:r>
            </a:p>
            <a:p>
              <a:pPr marL="144000" indent="-144000">
                <a:spcBef>
                  <a:spcPts val="600"/>
                </a:spcBef>
                <a:spcAft>
                  <a:spcPts val="600"/>
                </a:spcAft>
                <a:buFont typeface="Arial" panose="020B0604020202020204" pitchFamily="34" charset="0"/>
                <a:buChar char="•"/>
              </a:pPr>
              <a:r>
                <a:rPr lang="es-ES" sz="1600" dirty="0">
                  <a:solidFill>
                    <a:srgbClr val="4D4D4D"/>
                  </a:solidFill>
                </a:rPr>
                <a:t>Calificación consumo de energía primaria no renovable</a:t>
              </a:r>
            </a:p>
            <a:p>
              <a:pPr marL="144000" indent="-144000">
                <a:spcBef>
                  <a:spcPts val="600"/>
                </a:spcBef>
                <a:spcAft>
                  <a:spcPts val="600"/>
                </a:spcAft>
                <a:buFont typeface="Arial" panose="020B0604020202020204" pitchFamily="34" charset="0"/>
                <a:buChar char="•"/>
              </a:pPr>
              <a:r>
                <a:rPr lang="es-ES" sz="1600" dirty="0">
                  <a:solidFill>
                    <a:srgbClr val="4D4D4D"/>
                  </a:solidFill>
                </a:rPr>
                <a:t>Calificación emisiones CO2</a:t>
              </a:r>
            </a:p>
            <a:p>
              <a:pPr marL="144000" indent="-144000">
                <a:spcBef>
                  <a:spcPts val="600"/>
                </a:spcBef>
                <a:spcAft>
                  <a:spcPts val="600"/>
                </a:spcAft>
                <a:buFont typeface="Arial" panose="020B0604020202020204" pitchFamily="34" charset="0"/>
                <a:buChar char="•"/>
              </a:pPr>
              <a:r>
                <a:rPr lang="es-ES" sz="1600" dirty="0">
                  <a:solidFill>
                    <a:srgbClr val="4D4D4D"/>
                  </a:solidFill>
                </a:rPr>
                <a:t>Herramienta de certificación</a:t>
              </a:r>
            </a:p>
          </p:txBody>
        </p:sp>
      </p:grpSp>
      <p:grpSp>
        <p:nvGrpSpPr>
          <p:cNvPr id="37" name="Group 36">
            <a:extLst>
              <a:ext uri="{FF2B5EF4-FFF2-40B4-BE49-F238E27FC236}">
                <a16:creationId xmlns:a16="http://schemas.microsoft.com/office/drawing/2014/main" id="{4043F089-CC53-4A9C-A3EF-C64EEA1F3297}"/>
              </a:ext>
            </a:extLst>
          </p:cNvPr>
          <p:cNvGrpSpPr/>
          <p:nvPr/>
        </p:nvGrpSpPr>
        <p:grpSpPr>
          <a:xfrm>
            <a:off x="8750808" y="2401597"/>
            <a:ext cx="2946644" cy="3103144"/>
            <a:chOff x="8750808" y="2824873"/>
            <a:chExt cx="2946644" cy="3103144"/>
          </a:xfrm>
          <a:effectLst>
            <a:outerShdw blurRad="50800" dist="38100" dir="8100000" algn="tr" rotWithShape="0">
              <a:schemeClr val="bg1">
                <a:lumMod val="50000"/>
                <a:alpha val="40000"/>
              </a:schemeClr>
            </a:outerShdw>
          </a:effectLst>
        </p:grpSpPr>
        <p:sp>
          <p:nvSpPr>
            <p:cNvPr id="33" name="Speech Bubble: Rectangle 32">
              <a:extLst>
                <a:ext uri="{FF2B5EF4-FFF2-40B4-BE49-F238E27FC236}">
                  <a16:creationId xmlns:a16="http://schemas.microsoft.com/office/drawing/2014/main" id="{C1734E8F-C36E-41BA-9C2F-88E73DB79EDA}"/>
                </a:ext>
              </a:extLst>
            </p:cNvPr>
            <p:cNvSpPr/>
            <p:nvPr/>
          </p:nvSpPr>
          <p:spPr>
            <a:xfrm rot="5400000">
              <a:off x="8672558" y="2903123"/>
              <a:ext cx="3103144" cy="2946644"/>
            </a:xfrm>
            <a:prstGeom prst="wedgeRectCallout">
              <a:avLst>
                <a:gd name="adj1" fmla="val -10927"/>
                <a:gd name="adj2" fmla="val 64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5" name="TextBox 34">
              <a:extLst>
                <a:ext uri="{FF2B5EF4-FFF2-40B4-BE49-F238E27FC236}">
                  <a16:creationId xmlns:a16="http://schemas.microsoft.com/office/drawing/2014/main" id="{E6AB36CC-80A6-4A34-9A58-ACEEF1FAECAE}"/>
                </a:ext>
              </a:extLst>
            </p:cNvPr>
            <p:cNvSpPr txBox="1"/>
            <p:nvPr/>
          </p:nvSpPr>
          <p:spPr>
            <a:xfrm>
              <a:off x="8762517" y="3006840"/>
              <a:ext cx="2923225" cy="2739211"/>
            </a:xfrm>
            <a:prstGeom prst="rect">
              <a:avLst/>
            </a:prstGeom>
            <a:noFill/>
          </p:spPr>
          <p:txBody>
            <a:bodyPr wrap="square" rIns="0" rtlCol="0">
              <a:spAutoFit/>
            </a:bodyPr>
            <a:lstStyle/>
            <a:p>
              <a:pPr marL="144000" indent="-144000">
                <a:spcBef>
                  <a:spcPts val="600"/>
                </a:spcBef>
                <a:spcAft>
                  <a:spcPts val="600"/>
                </a:spcAft>
                <a:buFont typeface="Arial" panose="020B0604020202020204" pitchFamily="34" charset="0"/>
                <a:buChar char="•"/>
              </a:pPr>
              <a:r>
                <a:rPr lang="es-ES" sz="1600" dirty="0">
                  <a:solidFill>
                    <a:srgbClr val="4D4D4D"/>
                  </a:solidFill>
                </a:rPr>
                <a:t>Metros catastro</a:t>
              </a:r>
            </a:p>
            <a:p>
              <a:pPr marL="144000" indent="-144000">
                <a:spcBef>
                  <a:spcPts val="600"/>
                </a:spcBef>
                <a:spcAft>
                  <a:spcPts val="600"/>
                </a:spcAft>
                <a:buFont typeface="Arial" panose="020B0604020202020204" pitchFamily="34" charset="0"/>
                <a:buChar char="•"/>
              </a:pPr>
              <a:r>
                <a:rPr lang="es-ES" sz="1600" dirty="0">
                  <a:solidFill>
                    <a:srgbClr val="4D4D4D"/>
                  </a:solidFill>
                </a:rPr>
                <a:t>Emisiones CO2</a:t>
              </a:r>
            </a:p>
            <a:p>
              <a:pPr marL="144000" indent="-144000">
                <a:spcBef>
                  <a:spcPts val="600"/>
                </a:spcBef>
                <a:spcAft>
                  <a:spcPts val="600"/>
                </a:spcAft>
                <a:buFont typeface="Arial" panose="020B0604020202020204" pitchFamily="34" charset="0"/>
                <a:buChar char="•"/>
              </a:pPr>
              <a:r>
                <a:rPr lang="es-ES" sz="1600" dirty="0">
                  <a:solidFill>
                    <a:srgbClr val="4D4D4D"/>
                  </a:solidFill>
                </a:rPr>
                <a:t>Vehículo eléctrico</a:t>
              </a:r>
            </a:p>
            <a:p>
              <a:pPr marL="144000" indent="-144000">
                <a:spcBef>
                  <a:spcPts val="600"/>
                </a:spcBef>
                <a:spcAft>
                  <a:spcPts val="600"/>
                </a:spcAft>
                <a:buFont typeface="Arial" panose="020B0604020202020204" pitchFamily="34" charset="0"/>
                <a:buChar char="•"/>
              </a:pPr>
              <a:r>
                <a:rPr lang="es-ES" sz="1600" dirty="0">
                  <a:solidFill>
                    <a:srgbClr val="4D4D4D"/>
                  </a:solidFill>
                </a:rPr>
                <a:t>Sistema Biomasa</a:t>
              </a:r>
            </a:p>
            <a:p>
              <a:pPr marL="144000" indent="-144000">
                <a:spcBef>
                  <a:spcPts val="600"/>
                </a:spcBef>
                <a:spcAft>
                  <a:spcPts val="600"/>
                </a:spcAft>
                <a:buFont typeface="Arial" panose="020B0604020202020204" pitchFamily="34" charset="0"/>
                <a:buChar char="•"/>
              </a:pPr>
              <a:r>
                <a:rPr lang="es-ES" sz="1600" dirty="0">
                  <a:solidFill>
                    <a:srgbClr val="4D4D4D"/>
                  </a:solidFill>
                </a:rPr>
                <a:t>Red distrito</a:t>
              </a:r>
            </a:p>
            <a:p>
              <a:pPr marL="144000" indent="-144000">
                <a:spcBef>
                  <a:spcPts val="600"/>
                </a:spcBef>
                <a:spcAft>
                  <a:spcPts val="600"/>
                </a:spcAft>
                <a:buFont typeface="Arial" panose="020B0604020202020204" pitchFamily="34" charset="0"/>
                <a:buChar char="•"/>
              </a:pPr>
              <a:r>
                <a:rPr lang="es-ES" sz="1600" dirty="0">
                  <a:solidFill>
                    <a:srgbClr val="4D4D4D"/>
                  </a:solidFill>
                </a:rPr>
                <a:t>Energía geotérmica</a:t>
              </a:r>
            </a:p>
            <a:p>
              <a:pPr marL="144000" indent="-144000">
                <a:spcBef>
                  <a:spcPts val="600"/>
                </a:spcBef>
                <a:spcAft>
                  <a:spcPts val="600"/>
                </a:spcAft>
                <a:buFont typeface="Arial" panose="020B0604020202020204" pitchFamily="34" charset="0"/>
                <a:buChar char="•"/>
              </a:pPr>
              <a:r>
                <a:rPr lang="es-ES" sz="1600" dirty="0">
                  <a:solidFill>
                    <a:srgbClr val="4D4D4D"/>
                  </a:solidFill>
                </a:rPr>
                <a:t>Ventilación de uso residencial</a:t>
              </a:r>
            </a:p>
          </p:txBody>
        </p:sp>
      </p:grpSp>
      <p:sp>
        <p:nvSpPr>
          <p:cNvPr id="38" name="Rectangle 37">
            <a:extLst>
              <a:ext uri="{FF2B5EF4-FFF2-40B4-BE49-F238E27FC236}">
                <a16:creationId xmlns:a16="http://schemas.microsoft.com/office/drawing/2014/main" id="{C0B458E7-6F5D-4964-96B3-B19A8EAAEDED}"/>
              </a:ext>
            </a:extLst>
          </p:cNvPr>
          <p:cNvSpPr/>
          <p:nvPr/>
        </p:nvSpPr>
        <p:spPr>
          <a:xfrm>
            <a:off x="466344" y="5773294"/>
            <a:ext cx="11219398" cy="583056"/>
          </a:xfrm>
          <a:prstGeom prst="rect">
            <a:avLst/>
          </a:prstGeom>
          <a:solidFill>
            <a:schemeClr val="bg1"/>
          </a:solidFill>
          <a:ln>
            <a:solidFill>
              <a:srgbClr val="4AB5C4"/>
            </a:solidFill>
          </a:ln>
        </p:spPr>
        <p:style>
          <a:lnRef idx="2">
            <a:schemeClr val="accent1">
              <a:shade val="50000"/>
            </a:schemeClr>
          </a:lnRef>
          <a:fillRef idx="1">
            <a:schemeClr val="accent1"/>
          </a:fillRef>
          <a:effectRef idx="0">
            <a:schemeClr val="accent1"/>
          </a:effectRef>
          <a:fontRef idx="minor">
            <a:schemeClr val="lt1"/>
          </a:fontRef>
        </p:style>
        <p:txBody>
          <a:bodyPr lIns="828000" rIns="72000" rtlCol="0" anchor="ctr"/>
          <a:lstStyle/>
          <a:p>
            <a:r>
              <a:rPr lang="es-ES" dirty="0">
                <a:solidFill>
                  <a:srgbClr val="4D4D4D"/>
                </a:solidFill>
              </a:rPr>
              <a:t>A parte de las variables utilizadas para predecir las emisiones de CO2 el dataset contiene variables como la dirección, provincia, comunidad autónoma, latitud, longitud… </a:t>
            </a:r>
          </a:p>
        </p:txBody>
      </p:sp>
      <p:pic>
        <p:nvPicPr>
          <p:cNvPr id="40" name="Graphic 39" descr="Lights On with solid fill">
            <a:extLst>
              <a:ext uri="{FF2B5EF4-FFF2-40B4-BE49-F238E27FC236}">
                <a16:creationId xmlns:a16="http://schemas.microsoft.com/office/drawing/2014/main" id="{646E7871-6D96-4016-B35F-556D48FACB3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6344" y="5683929"/>
            <a:ext cx="756000" cy="756000"/>
          </a:xfrm>
          <a:prstGeom prst="rect">
            <a:avLst/>
          </a:prstGeom>
        </p:spPr>
      </p:pic>
    </p:spTree>
    <p:extLst>
      <p:ext uri="{BB962C8B-B14F-4D97-AF65-F5344CB8AC3E}">
        <p14:creationId xmlns:p14="http://schemas.microsoft.com/office/powerpoint/2010/main" val="16223340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58D089-3C8A-4DB5-B385-1D8F29891C43}"/>
              </a:ext>
            </a:extLst>
          </p:cNvPr>
          <p:cNvGraphicFramePr>
            <a:graphicFrameLocks noChangeAspect="1"/>
          </p:cNvGraphicFramePr>
          <p:nvPr>
            <p:custDataLst>
              <p:tags r:id="rId1"/>
            </p:custDataLst>
            <p:extLst>
              <p:ext uri="{D42A27DB-BD31-4B8C-83A1-F6EECF244321}">
                <p14:modId xmlns:p14="http://schemas.microsoft.com/office/powerpoint/2010/main" val="3177892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2" name="Object 11" hidden="1">
                        <a:extLst>
                          <a:ext uri="{FF2B5EF4-FFF2-40B4-BE49-F238E27FC236}">
                            <a16:creationId xmlns:a16="http://schemas.microsoft.com/office/drawing/2014/main" id="{F658D089-3C8A-4DB5-B385-1D8F29891C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1" name="Isosceles Triangle 40">
            <a:extLst>
              <a:ext uri="{FF2B5EF4-FFF2-40B4-BE49-F238E27FC236}">
                <a16:creationId xmlns:a16="http://schemas.microsoft.com/office/drawing/2014/main" id="{2231F4F5-1B85-40A6-A46D-E76F90DC4049}"/>
              </a:ext>
            </a:extLst>
          </p:cNvPr>
          <p:cNvSpPr/>
          <p:nvPr/>
        </p:nvSpPr>
        <p:spPr>
          <a:xfrm rot="16200000">
            <a:off x="4148752" y="2676187"/>
            <a:ext cx="3526156" cy="3196884"/>
          </a:xfrm>
          <a:prstGeom prst="triangle">
            <a:avLst>
              <a:gd name="adj" fmla="val 0"/>
            </a:avLst>
          </a:prstGeom>
          <a:solidFill>
            <a:srgbClr val="4AB5C4">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itle 1">
            <a:extLst>
              <a:ext uri="{FF2B5EF4-FFF2-40B4-BE49-F238E27FC236}">
                <a16:creationId xmlns:a16="http://schemas.microsoft.com/office/drawing/2014/main" id="{B8D6B1B9-77FC-433D-9851-1201CFDA3270}"/>
              </a:ext>
            </a:extLst>
          </p:cNvPr>
          <p:cNvSpPr>
            <a:spLocks noGrp="1"/>
          </p:cNvSpPr>
          <p:nvPr>
            <p:ph type="title"/>
          </p:nvPr>
        </p:nvSpPr>
        <p:spPr>
          <a:xfrm>
            <a:off x="466344" y="317814"/>
            <a:ext cx="10268712" cy="1700784"/>
          </a:xfrm>
        </p:spPr>
        <p:txBody>
          <a:bodyPr vert="horz">
            <a:normAutofit/>
          </a:bodyPr>
          <a:lstStyle/>
          <a:p>
            <a:r>
              <a:rPr lang="es-ES" sz="5400" cap="none" dirty="0"/>
              <a:t>Procesado dataset (1/2)</a:t>
            </a:r>
          </a:p>
        </p:txBody>
      </p:sp>
      <p:sp>
        <p:nvSpPr>
          <p:cNvPr id="10" name="Footer Placeholder 8">
            <a:extLst>
              <a:ext uri="{FF2B5EF4-FFF2-40B4-BE49-F238E27FC236}">
                <a16:creationId xmlns:a16="http://schemas.microsoft.com/office/drawing/2014/main" id="{523F2142-23CD-4ACA-BB2C-A54FDCFDCA25}"/>
              </a:ext>
            </a:extLst>
          </p:cNvPr>
          <p:cNvSpPr>
            <a:spLocks noGrp="1"/>
          </p:cNvSpPr>
          <p:nvPr>
            <p:ph type="ftr" sz="quarter" idx="11"/>
          </p:nvPr>
        </p:nvSpPr>
        <p:spPr>
          <a:xfrm>
            <a:off x="960121" y="6356350"/>
            <a:ext cx="3353262" cy="365125"/>
          </a:xfrm>
        </p:spPr>
        <p:txBody>
          <a:bodyPr/>
          <a:lstStyle/>
          <a:p>
            <a:r>
              <a:rPr lang="en-US" cap="none" dirty="0" err="1"/>
              <a:t>NaN</a:t>
            </a:r>
            <a:r>
              <a:rPr lang="en-US" cap="none" dirty="0"/>
              <a:t>: not a number</a:t>
            </a:r>
          </a:p>
        </p:txBody>
      </p:sp>
      <p:sp>
        <p:nvSpPr>
          <p:cNvPr id="11" name="Slide Number Placeholder 9">
            <a:extLst>
              <a:ext uri="{FF2B5EF4-FFF2-40B4-BE49-F238E27FC236}">
                <a16:creationId xmlns:a16="http://schemas.microsoft.com/office/drawing/2014/main" id="{1AEC9149-F5C3-45FA-B09D-CF6B7D2456CD}"/>
              </a:ext>
            </a:extLst>
          </p:cNvPr>
          <p:cNvSpPr>
            <a:spLocks noGrp="1"/>
          </p:cNvSpPr>
          <p:nvPr>
            <p:ph type="sldNum" sz="quarter" idx="12"/>
          </p:nvPr>
        </p:nvSpPr>
        <p:spPr>
          <a:xfrm>
            <a:off x="0" y="6356350"/>
            <a:ext cx="932688" cy="365125"/>
          </a:xfrm>
        </p:spPr>
        <p:txBody>
          <a:bodyPr/>
          <a:lstStyle/>
          <a:p>
            <a:fld id="{F97E8200-1950-409B-82E7-99938E7AE355}" type="slidenum">
              <a:rPr lang="en-US" smtClean="0"/>
              <a:pPr/>
              <a:t>9</a:t>
            </a:fld>
            <a:endParaRPr lang="en-US" dirty="0"/>
          </a:p>
        </p:txBody>
      </p:sp>
      <p:sp>
        <p:nvSpPr>
          <p:cNvPr id="31" name="TextBox 30">
            <a:extLst>
              <a:ext uri="{FF2B5EF4-FFF2-40B4-BE49-F238E27FC236}">
                <a16:creationId xmlns:a16="http://schemas.microsoft.com/office/drawing/2014/main" id="{C6D1CCEC-534A-4991-A816-2E51476A7F99}"/>
              </a:ext>
            </a:extLst>
          </p:cNvPr>
          <p:cNvSpPr txBox="1"/>
          <p:nvPr/>
        </p:nvSpPr>
        <p:spPr>
          <a:xfrm>
            <a:off x="466344" y="2414016"/>
            <a:ext cx="5629656" cy="307777"/>
          </a:xfrm>
          <a:prstGeom prst="rect">
            <a:avLst/>
          </a:prstGeom>
          <a:noFill/>
        </p:spPr>
        <p:txBody>
          <a:bodyPr wrap="square" rtlCol="0">
            <a:spAutoFit/>
          </a:bodyPr>
          <a:lstStyle/>
          <a:p>
            <a:pPr marL="285750" indent="-285750">
              <a:buSzPct val="70000"/>
              <a:buFont typeface="Arial" panose="020B0604020202020204" pitchFamily="34" charset="0"/>
              <a:buChar char="►"/>
            </a:pPr>
            <a:r>
              <a:rPr lang="es-ES" sz="1400" dirty="0">
                <a:solidFill>
                  <a:srgbClr val="4D4D4D"/>
                </a:solidFill>
              </a:rPr>
              <a:t>Importación del dataset y primera exploración</a:t>
            </a:r>
          </a:p>
        </p:txBody>
      </p:sp>
      <p:sp>
        <p:nvSpPr>
          <p:cNvPr id="34" name="TextBox 33">
            <a:extLst>
              <a:ext uri="{FF2B5EF4-FFF2-40B4-BE49-F238E27FC236}">
                <a16:creationId xmlns:a16="http://schemas.microsoft.com/office/drawing/2014/main" id="{25F1FB64-AF7F-42EB-8AA9-58E989376F01}"/>
              </a:ext>
            </a:extLst>
          </p:cNvPr>
          <p:cNvSpPr txBox="1"/>
          <p:nvPr/>
        </p:nvSpPr>
        <p:spPr>
          <a:xfrm>
            <a:off x="466344" y="2726607"/>
            <a:ext cx="5629656" cy="738664"/>
          </a:xfrm>
          <a:prstGeom prst="rect">
            <a:avLst/>
          </a:prstGeom>
          <a:noFill/>
        </p:spPr>
        <p:txBody>
          <a:bodyPr wrap="square" rtlCol="0">
            <a:spAutoFit/>
          </a:bodyPr>
          <a:lstStyle>
            <a:defPPr>
              <a:defRPr lang="en-US"/>
            </a:defPPr>
            <a:lvl1pPr marL="285750" indent="-285750">
              <a:buSzPct val="70000"/>
              <a:buFont typeface="Arial" panose="020B0604020202020204" pitchFamily="34" charset="0"/>
              <a:buChar char="►"/>
              <a:defRPr>
                <a:solidFill>
                  <a:srgbClr val="4D4D4D"/>
                </a:solidFill>
              </a:defRPr>
            </a:lvl1pPr>
          </a:lstStyle>
          <a:p>
            <a:r>
              <a:rPr lang="es-ES" sz="1400" dirty="0"/>
              <a:t>Procesado del dataset:</a:t>
            </a:r>
          </a:p>
          <a:p>
            <a:pPr lvl="1"/>
            <a:r>
              <a:rPr lang="es-ES" sz="1400" dirty="0">
                <a:solidFill>
                  <a:srgbClr val="4D4D4D"/>
                </a:solidFill>
              </a:rPr>
              <a:t>Estandarización nomenclatura</a:t>
            </a:r>
          </a:p>
          <a:p>
            <a:pPr lvl="1"/>
            <a:r>
              <a:rPr lang="es-ES" sz="1400" dirty="0">
                <a:solidFill>
                  <a:srgbClr val="4D4D4D"/>
                </a:solidFill>
              </a:rPr>
              <a:t>Eliminación y remplazamiento de </a:t>
            </a:r>
            <a:r>
              <a:rPr lang="es-ES" sz="1400" i="1" dirty="0" err="1">
                <a:solidFill>
                  <a:srgbClr val="4D4D4D"/>
                </a:solidFill>
              </a:rPr>
              <a:t>NaNs</a:t>
            </a:r>
            <a:endParaRPr lang="es-ES" sz="1400" i="1" dirty="0">
              <a:solidFill>
                <a:srgbClr val="4D4D4D"/>
              </a:solidFill>
            </a:endParaRPr>
          </a:p>
        </p:txBody>
      </p:sp>
      <p:grpSp>
        <p:nvGrpSpPr>
          <p:cNvPr id="24" name="Group 23">
            <a:extLst>
              <a:ext uri="{FF2B5EF4-FFF2-40B4-BE49-F238E27FC236}">
                <a16:creationId xmlns:a16="http://schemas.microsoft.com/office/drawing/2014/main" id="{8AAF7F47-4D1C-4A3F-BCA8-161FAA3151B8}"/>
              </a:ext>
            </a:extLst>
          </p:cNvPr>
          <p:cNvGrpSpPr>
            <a:grpSpLocks noChangeAspect="1"/>
          </p:cNvGrpSpPr>
          <p:nvPr/>
        </p:nvGrpSpPr>
        <p:grpSpPr>
          <a:xfrm>
            <a:off x="7059743" y="2414016"/>
            <a:ext cx="4428000" cy="3861934"/>
            <a:chOff x="7059743" y="2414016"/>
            <a:chExt cx="4520184" cy="3942334"/>
          </a:xfrm>
          <a:effectLst>
            <a:outerShdw blurRad="50800" dist="38100" dir="5400000" algn="t" rotWithShape="0">
              <a:schemeClr val="bg1">
                <a:lumMod val="50000"/>
                <a:alpha val="40000"/>
              </a:schemeClr>
            </a:outerShdw>
          </a:effectLst>
        </p:grpSpPr>
        <p:sp>
          <p:nvSpPr>
            <p:cNvPr id="20" name="Rectangle 19">
              <a:extLst>
                <a:ext uri="{FF2B5EF4-FFF2-40B4-BE49-F238E27FC236}">
                  <a16:creationId xmlns:a16="http://schemas.microsoft.com/office/drawing/2014/main" id="{A4561FB8-2949-41B1-A98E-3AB20205F928}"/>
                </a:ext>
              </a:extLst>
            </p:cNvPr>
            <p:cNvSpPr/>
            <p:nvPr/>
          </p:nvSpPr>
          <p:spPr>
            <a:xfrm>
              <a:off x="7059743" y="2414016"/>
              <a:ext cx="4520184" cy="3942334"/>
            </a:xfrm>
            <a:prstGeom prst="rect">
              <a:avLst/>
            </a:prstGeom>
            <a:solidFill>
              <a:schemeClr val="bg1"/>
            </a:solidFill>
            <a:ln>
              <a:solidFill>
                <a:srgbClr val="4AB5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5" name="Picture 14">
              <a:extLst>
                <a:ext uri="{FF2B5EF4-FFF2-40B4-BE49-F238E27FC236}">
                  <a16:creationId xmlns:a16="http://schemas.microsoft.com/office/drawing/2014/main" id="{909F8737-18F4-4F86-AC4D-FBE94870B684}"/>
                </a:ext>
              </a:extLst>
            </p:cNvPr>
            <p:cNvPicPr>
              <a:picLocks noChangeAspect="1"/>
            </p:cNvPicPr>
            <p:nvPr/>
          </p:nvPicPr>
          <p:blipFill>
            <a:blip r:embed="rId6"/>
            <a:stretch>
              <a:fillRect/>
            </a:stretch>
          </p:blipFill>
          <p:spPr>
            <a:xfrm>
              <a:off x="7224478" y="2585400"/>
              <a:ext cx="4190714" cy="3599566"/>
            </a:xfrm>
            <a:prstGeom prst="rect">
              <a:avLst/>
            </a:prstGeom>
          </p:spPr>
        </p:pic>
      </p:grpSp>
      <p:grpSp>
        <p:nvGrpSpPr>
          <p:cNvPr id="25" name="Group 24">
            <a:extLst>
              <a:ext uri="{FF2B5EF4-FFF2-40B4-BE49-F238E27FC236}">
                <a16:creationId xmlns:a16="http://schemas.microsoft.com/office/drawing/2014/main" id="{5A3D1780-7664-4E79-B163-F3985E10C722}"/>
              </a:ext>
            </a:extLst>
          </p:cNvPr>
          <p:cNvGrpSpPr/>
          <p:nvPr/>
        </p:nvGrpSpPr>
        <p:grpSpPr>
          <a:xfrm>
            <a:off x="466344" y="3971950"/>
            <a:ext cx="5308573" cy="2304000"/>
            <a:chOff x="1141700" y="3518672"/>
            <a:chExt cx="5308573" cy="2304000"/>
          </a:xfrm>
          <a:effectLst>
            <a:outerShdw blurRad="50800" dist="38100" dir="5400000" algn="t" rotWithShape="0">
              <a:schemeClr val="bg1">
                <a:lumMod val="50000"/>
                <a:alpha val="40000"/>
              </a:schemeClr>
            </a:outerShdw>
          </a:effectLst>
        </p:grpSpPr>
        <p:sp>
          <p:nvSpPr>
            <p:cNvPr id="28" name="Rectangle 27">
              <a:extLst>
                <a:ext uri="{FF2B5EF4-FFF2-40B4-BE49-F238E27FC236}">
                  <a16:creationId xmlns:a16="http://schemas.microsoft.com/office/drawing/2014/main" id="{A550B9D0-6874-4BC0-9F0A-20AF87DC6286}"/>
                </a:ext>
              </a:extLst>
            </p:cNvPr>
            <p:cNvSpPr>
              <a:spLocks noChangeAspect="1"/>
            </p:cNvSpPr>
            <p:nvPr/>
          </p:nvSpPr>
          <p:spPr>
            <a:xfrm>
              <a:off x="1141700" y="3518672"/>
              <a:ext cx="5308573" cy="2304000"/>
            </a:xfrm>
            <a:prstGeom prst="rect">
              <a:avLst/>
            </a:prstGeom>
            <a:solidFill>
              <a:schemeClr val="bg1"/>
            </a:solidFill>
            <a:ln>
              <a:solidFill>
                <a:srgbClr val="4AB5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3" name="Picture 22">
              <a:extLst>
                <a:ext uri="{FF2B5EF4-FFF2-40B4-BE49-F238E27FC236}">
                  <a16:creationId xmlns:a16="http://schemas.microsoft.com/office/drawing/2014/main" id="{0E8F50A6-2348-4C76-8644-C99F09271599}"/>
                </a:ext>
              </a:extLst>
            </p:cNvPr>
            <p:cNvPicPr>
              <a:picLocks noChangeAspect="1"/>
            </p:cNvPicPr>
            <p:nvPr/>
          </p:nvPicPr>
          <p:blipFill>
            <a:blip r:embed="rId7"/>
            <a:stretch>
              <a:fillRect/>
            </a:stretch>
          </p:blipFill>
          <p:spPr>
            <a:xfrm>
              <a:off x="1233404" y="3558473"/>
              <a:ext cx="5125165" cy="2224398"/>
            </a:xfrm>
            <a:prstGeom prst="rect">
              <a:avLst/>
            </a:prstGeom>
          </p:spPr>
        </p:pic>
      </p:grpSp>
      <p:sp>
        <p:nvSpPr>
          <p:cNvPr id="44" name="TextBox 43">
            <a:extLst>
              <a:ext uri="{FF2B5EF4-FFF2-40B4-BE49-F238E27FC236}">
                <a16:creationId xmlns:a16="http://schemas.microsoft.com/office/drawing/2014/main" id="{B3C117E6-91F2-4096-9FA7-977E08D4E8D4}"/>
              </a:ext>
            </a:extLst>
          </p:cNvPr>
          <p:cNvSpPr txBox="1"/>
          <p:nvPr/>
        </p:nvSpPr>
        <p:spPr>
          <a:xfrm>
            <a:off x="466344" y="3470085"/>
            <a:ext cx="5629656" cy="307777"/>
          </a:xfrm>
          <a:prstGeom prst="rect">
            <a:avLst/>
          </a:prstGeom>
          <a:noFill/>
        </p:spPr>
        <p:txBody>
          <a:bodyPr wrap="square" rtlCol="0">
            <a:spAutoFit/>
          </a:bodyPr>
          <a:lstStyle/>
          <a:p>
            <a:pPr marL="285750" indent="-285750">
              <a:buSzPct val="70000"/>
              <a:buFont typeface="Arial" panose="020B0604020202020204" pitchFamily="34" charset="0"/>
              <a:buChar char="►"/>
            </a:pPr>
            <a:r>
              <a:rPr lang="es-ES" sz="1400" dirty="0">
                <a:solidFill>
                  <a:srgbClr val="4D4D4D"/>
                </a:solidFill>
              </a:rPr>
              <a:t>Desglose dataset en variables categóricas y numéricas</a:t>
            </a:r>
          </a:p>
        </p:txBody>
      </p:sp>
      <p:pic>
        <p:nvPicPr>
          <p:cNvPr id="45" name="Picture 44" descr="Icon&#10;&#10;Description automatically generated with medium confidence">
            <a:extLst>
              <a:ext uri="{FF2B5EF4-FFF2-40B4-BE49-F238E27FC236}">
                <a16:creationId xmlns:a16="http://schemas.microsoft.com/office/drawing/2014/main" id="{C6F6271E-9B51-4A50-A960-454EA203FEDE}"/>
              </a:ext>
            </a:extLst>
          </p:cNvPr>
          <p:cNvPicPr>
            <a:picLocks noChangeAspect="1"/>
          </p:cNvPicPr>
          <p:nvPr/>
        </p:nvPicPr>
        <p:blipFill>
          <a:blip r:embed="rId8">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10470023" y="610206"/>
            <a:ext cx="1116000" cy="1116000"/>
          </a:xfrm>
          <a:prstGeom prst="rect">
            <a:avLst/>
          </a:prstGeom>
        </p:spPr>
      </p:pic>
    </p:spTree>
    <p:extLst>
      <p:ext uri="{BB962C8B-B14F-4D97-AF65-F5344CB8AC3E}">
        <p14:creationId xmlns:p14="http://schemas.microsoft.com/office/powerpoint/2010/main" val="8065742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JuxtaposeVTI">
  <a:themeElements>
    <a:clrScheme name="Custom 2">
      <a:dk1>
        <a:srgbClr val="4AB5C4"/>
      </a:dk1>
      <a:lt1>
        <a:srgbClr val="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Custom 167">
      <a:majorFont>
        <a:latin typeface="Franklin Gothic Demi Cond"/>
        <a:ea typeface=""/>
        <a:cs typeface=""/>
      </a:majorFont>
      <a:minorFont>
        <a:latin typeface="Franklin Gothic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uxtaposeVTI" id="{FBDCC3B4-6EA8-442A-B697-43C068E31FE3}" vid="{090F2E09-E4E2-4F71-A70E-279F5A0D9E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_ip_UnifiedCompliancePolicyUIAction xmlns="http://schemas.microsoft.com/sharepoint/v3" xsi:nil="true"/>
    <Image xmlns="71af3243-3dd4-4a8d-8c0d-dd76da1f02a5">
      <Url xsi:nil="true"/>
      <Description xsi:nil="true"/>
    </Image>
    <_ip_UnifiedCompliancePolicyProperties xmlns="http://schemas.microsoft.com/sharepoint/v3" xsi:nil="true"/>
    <ImageTagsTaxHTField xmlns="71af3243-3dd4-4a8d-8c0d-dd76da1f02a5">
      <Terms xmlns="http://schemas.microsoft.com/office/infopath/2007/PartnerControls"/>
    </ImageTagsTaxHTField>
    <TaxCatchAll xmlns="230e9df3-be65-4c73-a93b-d1236ebd677e"/>
    <MediaServiceKeyPoints xmlns="71af3243-3dd4-4a8d-8c0d-dd76da1f02a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20" ma:contentTypeDescription="Create a new document." ma:contentTypeScope="" ma:versionID="1267097ee5f5874adfcc408041ae252e">
  <xsd:schema xmlns:xsd="http://www.w3.org/2001/XMLSchema" xmlns:xs="http://www.w3.org/2001/XMLSchema" xmlns:p="http://schemas.microsoft.com/office/2006/metadata/properties" xmlns:ns1="http://schemas.microsoft.com/sharepoint/v3" xmlns:ns2="71af3243-3dd4-4a8d-8c0d-dd76da1f02a5" xmlns:ns3="16c05727-aa75-4e4a-9b5f-8a80a1165891" xmlns:ns4="230e9df3-be65-4c73-a93b-d1236ebd677e" targetNamespace="http://schemas.microsoft.com/office/2006/metadata/properties" ma:root="true" ma:fieldsID="395891a93df65b14727750f2c06c306c" ns1:_="" ns2:_="" ns3:_="" ns4:_="">
    <xsd:import namespace="http://schemas.microsoft.com/sharepoint/v3"/>
    <xsd:import namespace="71af3243-3dd4-4a8d-8c0d-dd76da1f02a5"/>
    <xsd:import namespace="16c05727-aa75-4e4a-9b5f-8a80a116589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element ref="ns1:_ip_UnifiedCompliancePolicyProperties" minOccurs="0"/>
                <xsd:element ref="ns1:_ip_UnifiedCompliancePolicyUIAction" minOccurs="0"/>
                <xsd:element ref="ns2:Image" minOccurs="0"/>
                <xsd:element ref="ns4:TaxCatchAll" minOccurs="0"/>
                <xsd:element ref="ns2:ImageTagsTaxHTFiel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element name="Image" ma:index="22" nillable="true" ma:displayName="Image" ma:format="Image" ma:internalName="Image">
      <xsd:complexType>
        <xsd:complexContent>
          <xsd:extension base="dms:URL">
            <xsd:sequence>
              <xsd:element name="Url" type="dms:ValidUrl" minOccurs="0" nillable="true"/>
              <xsd:element name="Description" type="xsd:string" nillable="true"/>
            </xsd:sequence>
          </xsd:extension>
        </xsd:complexContent>
      </xsd:complexType>
    </xsd:element>
    <xsd:element name="ImageTagsTaxHTField" ma:index="25" nillable="true" ma:taxonomy="true" ma:internalName="ImageTagsTaxHTField"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f6bfcbc-3db3-4ae6-bd76-326f0798ad28}" ma:internalName="TaxCatchAll" ma:showField="CatchAllData" ma:web="16c05727-aa75-4e4a-9b5f-8a80a11658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251B918-0091-4E96-9E28-42B87D9557A7}">
  <ds:schemaRefs>
    <ds:schemaRef ds:uri="http://schemas.microsoft.com/office/2006/metadata/properties"/>
    <ds:schemaRef ds:uri="http://schemas.microsoft.com/office/infopath/2007/PartnerControls"/>
    <ds:schemaRef ds:uri="71af3243-3dd4-4a8d-8c0d-dd76da1f02a5"/>
    <ds:schemaRef ds:uri="http://schemas.microsoft.com/sharepoint/v3"/>
    <ds:schemaRef ds:uri="230e9df3-be65-4c73-a93b-d1236ebd677e"/>
  </ds:schemaRefs>
</ds:datastoreItem>
</file>

<file path=customXml/itemProps2.xml><?xml version="1.0" encoding="utf-8"?>
<ds:datastoreItem xmlns:ds="http://schemas.openxmlformats.org/officeDocument/2006/customXml" ds:itemID="{AA0EFE35-5C2D-4EEC-93CA-7B3D4088735C}">
  <ds:schemaRefs>
    <ds:schemaRef ds:uri="http://schemas.microsoft.com/sharepoint/v3/contenttype/forms"/>
  </ds:schemaRefs>
</ds:datastoreItem>
</file>

<file path=customXml/itemProps3.xml><?xml version="1.0" encoding="utf-8"?>
<ds:datastoreItem xmlns:ds="http://schemas.openxmlformats.org/officeDocument/2006/customXml" ds:itemID="{33878E47-D7B4-44CA-8507-24783F79A5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1af3243-3dd4-4a8d-8c0d-dd76da1f02a5"/>
    <ds:schemaRef ds:uri="16c05727-aa75-4e4a-9b5f-8a80a116589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Fracture design</Template>
  <TotalTime>679</TotalTime>
  <Words>1065</Words>
  <Application>Microsoft Office PowerPoint</Application>
  <PresentationFormat>Widescreen</PresentationFormat>
  <Paragraphs>169</Paragraphs>
  <Slides>19</Slides>
  <Notes>1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9" baseType="lpstr">
      <vt:lpstr>Arial</vt:lpstr>
      <vt:lpstr>Calibri</vt:lpstr>
      <vt:lpstr>Franklin Gothic Demi Cond</vt:lpstr>
      <vt:lpstr>Franklin Gothic Medium</vt:lpstr>
      <vt:lpstr>Helvetica Neue</vt:lpstr>
      <vt:lpstr>Open Sans</vt:lpstr>
      <vt:lpstr>var(--jp-code-font-family)</vt:lpstr>
      <vt:lpstr>Wingdings</vt:lpstr>
      <vt:lpstr>JuxtaposeVTI</vt:lpstr>
      <vt:lpstr>think-cell Slide</vt:lpstr>
      <vt:lpstr>Emisiones de CO2 de una vivienda</vt:lpstr>
      <vt:lpstr>ÍNDICE</vt:lpstr>
      <vt:lpstr>PowerPoint Presentation</vt:lpstr>
      <vt:lpstr>Objetivos</vt:lpstr>
      <vt:lpstr>Metodología</vt:lpstr>
      <vt:lpstr>PowerPoint Presentation</vt:lpstr>
      <vt:lpstr>Contexto dataset</vt:lpstr>
      <vt:lpstr>Contexto dataset; Variables</vt:lpstr>
      <vt:lpstr>Procesado dataset (1/2)</vt:lpstr>
      <vt:lpstr>Procesado dataset (2/2)</vt:lpstr>
      <vt:lpstr>PowerPoint Presentation</vt:lpstr>
      <vt:lpstr>Análisis visual; Emisiones CO2</vt:lpstr>
      <vt:lpstr>Análisis Visual. Emisiones CO2</vt:lpstr>
      <vt:lpstr>Análisis visual; Energía primaria  no renovable</vt:lpstr>
      <vt:lpstr>PowerPoint Presentation</vt:lpstr>
      <vt:lpstr>Modelo de regresión</vt:lpstr>
      <vt:lpstr>PowerPoint Presentation</vt:lpstr>
      <vt:lpstr>Conclusion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ítulo Proyecto</dc:title>
  <dc:creator>Enric Mus Catala</dc:creator>
  <cp:lastModifiedBy>Enric Mus Catala</cp:lastModifiedBy>
  <cp:revision>1</cp:revision>
  <dcterms:created xsi:type="dcterms:W3CDTF">2022-12-20T16:07:35Z</dcterms:created>
  <dcterms:modified xsi:type="dcterms:W3CDTF">2022-12-22T15:2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